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5215" r:id="rId1"/>
    <p:sldMasterId id="2147485414" r:id="rId2"/>
  </p:sldMasterIdLst>
  <p:notesMasterIdLst>
    <p:notesMasterId r:id="rId6"/>
  </p:notesMasterIdLst>
  <p:handoutMasterIdLst>
    <p:handoutMasterId r:id="rId7"/>
  </p:handoutMasterIdLst>
  <p:sldIdLst>
    <p:sldId id="453" r:id="rId3"/>
    <p:sldId id="9508" r:id="rId4"/>
    <p:sldId id="9511" r:id="rId5"/>
  </p:sldIdLst>
  <p:sldSz cx="10160000" cy="5715000"/>
  <p:notesSz cx="6797675" cy="9926638"/>
  <p:custDataLst>
    <p:tags r:id="rId8"/>
  </p:custDataLst>
  <p:defaultTextStyle>
    <a:defPPr>
      <a:defRPr lang="ru-RU"/>
    </a:defPPr>
    <a:lvl1pPr algn="l" defTabSz="690563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1pPr>
    <a:lvl2pPr marL="344488" indent="112713" algn="l" defTabSz="690563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2pPr>
    <a:lvl3pPr marL="690563" indent="-3175" algn="l" defTabSz="690563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3pPr>
    <a:lvl4pPr marL="1035050" indent="-4763" algn="l" defTabSz="690563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4pPr>
    <a:lvl5pPr marL="1381125" indent="-6350" algn="l" defTabSz="690563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774" userDrawn="1">
          <p15:clr>
            <a:srgbClr val="A4A3A4"/>
          </p15:clr>
        </p15:guide>
        <p15:guide id="2" pos="322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nsar Kapyatov" initials="AK" lastIdx="1" clrIdx="0"/>
  <p:cmAuthor id="2" name="Дастан Умирбаев" initials="ДУ" lastIdx="1" clrIdx="1"/>
  <p:cmAuthor id="3" name="Aigerim Donbayeva" initials="AD" lastIdx="1" clrIdx="2"/>
  <p:cmAuthor id="4" name="Савазиева Алия Исмаровна" initials="САИ" lastIdx="1" clrIdx="3"/>
  <p:cmAuthor id="5" name="апвапвапвапвап" initials="а" lastIdx="1" clrIdx="4">
    <p:extLst>
      <p:ext uri="{19B8F6BF-5375-455C-9EA6-DF929625EA0E}">
        <p15:presenceInfo xmlns:p15="http://schemas.microsoft.com/office/powerpoint/2012/main" userId="апвапвапвапвап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AE3F3"/>
    <a:srgbClr val="00B050"/>
    <a:srgbClr val="48C1BE"/>
    <a:srgbClr val="2A6CA8"/>
    <a:srgbClr val="EAF2FA"/>
    <a:srgbClr val="0070C0"/>
    <a:srgbClr val="DEEBF7"/>
    <a:srgbClr val="00B0F0"/>
    <a:srgbClr val="ECF3FA"/>
    <a:srgbClr val="FDE8A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CF1AB2-1976-4502-BF36-3FF5EA218861}" styleName="Средний стиль 4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35758FB7-9AC5-4552-8A53-C91805E547FA}" styleName="Стиль из темы 1 - акцент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BDBED569-4797-4DF1-A0F4-6AAB3CD982D8}" styleName="Светлый стиль 3 — акцент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3833" autoAdjust="0"/>
    <p:restoredTop sz="95227" autoAdjust="0"/>
  </p:normalViewPr>
  <p:slideViewPr>
    <p:cSldViewPr snapToGrid="0">
      <p:cViewPr varScale="1">
        <p:scale>
          <a:sx n="87" d="100"/>
          <a:sy n="87" d="100"/>
        </p:scale>
        <p:origin x="456" y="84"/>
      </p:cViewPr>
      <p:guideLst>
        <p:guide orient="horz" pos="1774"/>
        <p:guide pos="3226"/>
      </p:guideLst>
    </p:cSldViewPr>
  </p:slideViewPr>
  <p:outlineViewPr>
    <p:cViewPr>
      <p:scale>
        <a:sx n="100" d="100"/>
        <a:sy n="100" d="100"/>
      </p:scale>
      <p:origin x="0" y="0"/>
    </p:cViewPr>
  </p:outlin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78" d="100"/>
          <a:sy n="78" d="100"/>
        </p:scale>
        <p:origin x="3978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handoutMaster" Target="handoutMasters/handoutMaster1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microsoft.com/office/2016/11/relationships/changesInfo" Target="changesInfos/changesInfo1.xml"/><Relationship Id="rId10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commentAuthors" Target="comment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userId="54b1a13f4a45dede" providerId="LiveId" clId="{C8CE3990-E731-480D-9312-9BB1D82AD59C}"/>
    <pc:docChg chg="custSel delSld modSld">
      <pc:chgData name="" userId="54b1a13f4a45dede" providerId="LiveId" clId="{C8CE3990-E731-480D-9312-9BB1D82AD59C}" dt="2024-05-27T05:19:54.173" v="14" actId="478"/>
      <pc:docMkLst>
        <pc:docMk/>
      </pc:docMkLst>
      <pc:sldChg chg="del">
        <pc:chgData name="" userId="54b1a13f4a45dede" providerId="LiveId" clId="{C8CE3990-E731-480D-9312-9BB1D82AD59C}" dt="2024-05-27T05:19:44.494" v="12" actId="2696"/>
        <pc:sldMkLst>
          <pc:docMk/>
          <pc:sldMk cId="1227920675" sldId="9491"/>
        </pc:sldMkLst>
      </pc:sldChg>
      <pc:sldChg chg="del">
        <pc:chgData name="" userId="54b1a13f4a45dede" providerId="LiveId" clId="{C8CE3990-E731-480D-9312-9BB1D82AD59C}" dt="2024-05-27T05:19:45.575" v="13" actId="2696"/>
        <pc:sldMkLst>
          <pc:docMk/>
          <pc:sldMk cId="1122098371" sldId="9492"/>
        </pc:sldMkLst>
      </pc:sldChg>
      <pc:sldChg chg="del">
        <pc:chgData name="" userId="54b1a13f4a45dede" providerId="LiveId" clId="{C8CE3990-E731-480D-9312-9BB1D82AD59C}" dt="2024-05-27T05:19:40.435" v="3" actId="2696"/>
        <pc:sldMkLst>
          <pc:docMk/>
          <pc:sldMk cId="178376122" sldId="9493"/>
        </pc:sldMkLst>
      </pc:sldChg>
      <pc:sldChg chg="del">
        <pc:chgData name="" userId="54b1a13f4a45dede" providerId="LiveId" clId="{C8CE3990-E731-480D-9312-9BB1D82AD59C}" dt="2024-05-27T05:19:40.705" v="4" actId="2696"/>
        <pc:sldMkLst>
          <pc:docMk/>
          <pc:sldMk cId="1960819579" sldId="9494"/>
        </pc:sldMkLst>
      </pc:sldChg>
      <pc:sldChg chg="del">
        <pc:chgData name="" userId="54b1a13f4a45dede" providerId="LiveId" clId="{C8CE3990-E731-480D-9312-9BB1D82AD59C}" dt="2024-05-27T05:19:40.916" v="5" actId="2696"/>
        <pc:sldMkLst>
          <pc:docMk/>
          <pc:sldMk cId="542414822" sldId="9495"/>
        </pc:sldMkLst>
      </pc:sldChg>
      <pc:sldChg chg="del">
        <pc:chgData name="" userId="54b1a13f4a45dede" providerId="LiveId" clId="{C8CE3990-E731-480D-9312-9BB1D82AD59C}" dt="2024-05-27T05:19:41.537" v="6" actId="2696"/>
        <pc:sldMkLst>
          <pc:docMk/>
          <pc:sldMk cId="1936568499" sldId="9496"/>
        </pc:sldMkLst>
      </pc:sldChg>
      <pc:sldChg chg="del">
        <pc:chgData name="" userId="54b1a13f4a45dede" providerId="LiveId" clId="{C8CE3990-E731-480D-9312-9BB1D82AD59C}" dt="2024-05-27T05:19:33.474" v="0" actId="2696"/>
        <pc:sldMkLst>
          <pc:docMk/>
          <pc:sldMk cId="2761841469" sldId="9497"/>
        </pc:sldMkLst>
      </pc:sldChg>
      <pc:sldChg chg="del">
        <pc:chgData name="" userId="54b1a13f4a45dede" providerId="LiveId" clId="{C8CE3990-E731-480D-9312-9BB1D82AD59C}" dt="2024-05-27T05:19:33.910" v="1" actId="2696"/>
        <pc:sldMkLst>
          <pc:docMk/>
          <pc:sldMk cId="322503360" sldId="9498"/>
        </pc:sldMkLst>
      </pc:sldChg>
      <pc:sldChg chg="del">
        <pc:chgData name="" userId="54b1a13f4a45dede" providerId="LiveId" clId="{C8CE3990-E731-480D-9312-9BB1D82AD59C}" dt="2024-05-27T05:19:44.047" v="11" actId="2696"/>
        <pc:sldMkLst>
          <pc:docMk/>
          <pc:sldMk cId="4259831259" sldId="9499"/>
        </pc:sldMkLst>
      </pc:sldChg>
      <pc:sldChg chg="del">
        <pc:chgData name="" userId="54b1a13f4a45dede" providerId="LiveId" clId="{C8CE3990-E731-480D-9312-9BB1D82AD59C}" dt="2024-05-27T05:19:36.821" v="2" actId="2696"/>
        <pc:sldMkLst>
          <pc:docMk/>
          <pc:sldMk cId="2667284708" sldId="9500"/>
        </pc:sldMkLst>
      </pc:sldChg>
      <pc:sldChg chg="del">
        <pc:chgData name="" userId="54b1a13f4a45dede" providerId="LiveId" clId="{C8CE3990-E731-480D-9312-9BB1D82AD59C}" dt="2024-05-27T05:19:42.140" v="7" actId="2696"/>
        <pc:sldMkLst>
          <pc:docMk/>
          <pc:sldMk cId="2278060830" sldId="9501"/>
        </pc:sldMkLst>
      </pc:sldChg>
      <pc:sldChg chg="del">
        <pc:chgData name="" userId="54b1a13f4a45dede" providerId="LiveId" clId="{C8CE3990-E731-480D-9312-9BB1D82AD59C}" dt="2024-05-27T05:19:42.687" v="8" actId="2696"/>
        <pc:sldMkLst>
          <pc:docMk/>
          <pc:sldMk cId="888371646" sldId="9504"/>
        </pc:sldMkLst>
      </pc:sldChg>
      <pc:sldChg chg="del">
        <pc:chgData name="" userId="54b1a13f4a45dede" providerId="LiveId" clId="{C8CE3990-E731-480D-9312-9BB1D82AD59C}" dt="2024-05-27T05:19:43.136" v="9" actId="2696"/>
        <pc:sldMkLst>
          <pc:docMk/>
          <pc:sldMk cId="3658942736" sldId="9505"/>
        </pc:sldMkLst>
      </pc:sldChg>
      <pc:sldChg chg="del">
        <pc:chgData name="" userId="54b1a13f4a45dede" providerId="LiveId" clId="{C8CE3990-E731-480D-9312-9BB1D82AD59C}" dt="2024-05-27T05:19:43.596" v="10" actId="2696"/>
        <pc:sldMkLst>
          <pc:docMk/>
          <pc:sldMk cId="24086191" sldId="9507"/>
        </pc:sldMkLst>
      </pc:sldChg>
      <pc:sldChg chg="delSp">
        <pc:chgData name="" userId="54b1a13f4a45dede" providerId="LiveId" clId="{C8CE3990-E731-480D-9312-9BB1D82AD59C}" dt="2024-05-27T05:19:54.173" v="14" actId="478"/>
        <pc:sldMkLst>
          <pc:docMk/>
          <pc:sldMk cId="2764145959" sldId="9508"/>
        </pc:sldMkLst>
        <pc:spChg chg="del">
          <ac:chgData name="" userId="54b1a13f4a45dede" providerId="LiveId" clId="{C8CE3990-E731-480D-9312-9BB1D82AD59C}" dt="2024-05-27T05:19:54.173" v="14" actId="478"/>
          <ac:spMkLst>
            <pc:docMk/>
            <pc:sldMk cId="2764145959" sldId="9508"/>
            <ac:spMk id="6" creationId="{64C16FE3-7FA4-469E-AD17-6EB564B2A81A}"/>
          </ac:spMkLst>
        </pc:spChg>
      </pc:sldChg>
    </pc:docChg>
  </pc:docChgLst>
  <pc:docChgLst>
    <pc:chgData userId="54b1a13f4a45dede" providerId="LiveId" clId="{83920342-FD9C-4F13-95F0-DE59E73574B3}"/>
    <pc:docChg chg="custSel addSld delSld modSld sldOrd">
      <pc:chgData name="" userId="54b1a13f4a45dede" providerId="LiveId" clId="{83920342-FD9C-4F13-95F0-DE59E73574B3}" dt="2024-05-27T05:17:43.600" v="785" actId="1076"/>
      <pc:docMkLst>
        <pc:docMk/>
      </pc:docMkLst>
      <pc:sldChg chg="ord">
        <pc:chgData name="" userId="54b1a13f4a45dede" providerId="LiveId" clId="{83920342-FD9C-4F13-95F0-DE59E73574B3}" dt="2024-05-27T04:36:06.318" v="2"/>
        <pc:sldMkLst>
          <pc:docMk/>
          <pc:sldMk cId="1227920675" sldId="9491"/>
        </pc:sldMkLst>
      </pc:sldChg>
      <pc:sldChg chg="ord">
        <pc:chgData name="" userId="54b1a13f4a45dede" providerId="LiveId" clId="{83920342-FD9C-4F13-95F0-DE59E73574B3}" dt="2024-05-27T04:36:06.318" v="2"/>
        <pc:sldMkLst>
          <pc:docMk/>
          <pc:sldMk cId="1122098371" sldId="9492"/>
        </pc:sldMkLst>
      </pc:sldChg>
      <pc:sldChg chg="ord">
        <pc:chgData name="" userId="54b1a13f4a45dede" providerId="LiveId" clId="{83920342-FD9C-4F13-95F0-DE59E73574B3}" dt="2024-05-27T04:36:52.582" v="4"/>
        <pc:sldMkLst>
          <pc:docMk/>
          <pc:sldMk cId="2761841469" sldId="9497"/>
        </pc:sldMkLst>
      </pc:sldChg>
      <pc:sldChg chg="ord">
        <pc:chgData name="" userId="54b1a13f4a45dede" providerId="LiveId" clId="{83920342-FD9C-4F13-95F0-DE59E73574B3}" dt="2024-05-27T04:36:52.582" v="4"/>
        <pc:sldMkLst>
          <pc:docMk/>
          <pc:sldMk cId="322503360" sldId="9498"/>
        </pc:sldMkLst>
      </pc:sldChg>
      <pc:sldChg chg="ord">
        <pc:chgData name="" userId="54b1a13f4a45dede" providerId="LiveId" clId="{83920342-FD9C-4F13-95F0-DE59E73574B3}" dt="2024-05-27T04:36:36.566" v="3"/>
        <pc:sldMkLst>
          <pc:docMk/>
          <pc:sldMk cId="4259831259" sldId="9499"/>
        </pc:sldMkLst>
      </pc:sldChg>
      <pc:sldChg chg="modSp ord">
        <pc:chgData name="" userId="54b1a13f4a45dede" providerId="LiveId" clId="{83920342-FD9C-4F13-95F0-DE59E73574B3}" dt="2024-05-27T05:17:43.600" v="785" actId="1076"/>
        <pc:sldMkLst>
          <pc:docMk/>
          <pc:sldMk cId="2667284708" sldId="9500"/>
        </pc:sldMkLst>
        <pc:spChg chg="mod">
          <ac:chgData name="" userId="54b1a13f4a45dede" providerId="LiveId" clId="{83920342-FD9C-4F13-95F0-DE59E73574B3}" dt="2024-05-27T05:17:31.823" v="784" actId="1076"/>
          <ac:spMkLst>
            <pc:docMk/>
            <pc:sldMk cId="2667284708" sldId="9500"/>
            <ac:spMk id="6" creationId="{64C16FE3-7FA4-469E-AD17-6EB564B2A81A}"/>
          </ac:spMkLst>
        </pc:spChg>
        <pc:spChg chg="mod">
          <ac:chgData name="" userId="54b1a13f4a45dede" providerId="LiveId" clId="{83920342-FD9C-4F13-95F0-DE59E73574B3}" dt="2024-05-27T05:09:24.803" v="761" actId="207"/>
          <ac:spMkLst>
            <pc:docMk/>
            <pc:sldMk cId="2667284708" sldId="9500"/>
            <ac:spMk id="7" creationId="{6D09A826-8B0D-4F59-AF3F-6D40321ECD90}"/>
          </ac:spMkLst>
        </pc:spChg>
        <pc:spChg chg="mod">
          <ac:chgData name="" userId="54b1a13f4a45dede" providerId="LiveId" clId="{83920342-FD9C-4F13-95F0-DE59E73574B3}" dt="2024-05-27T05:17:43.600" v="785" actId="1076"/>
          <ac:spMkLst>
            <pc:docMk/>
            <pc:sldMk cId="2667284708" sldId="9500"/>
            <ac:spMk id="11" creationId="{A2D66672-0E0A-4E53-86CC-A254DFE0054F}"/>
          </ac:spMkLst>
        </pc:spChg>
      </pc:sldChg>
      <pc:sldChg chg="modSp">
        <pc:chgData name="" userId="54b1a13f4a45dede" providerId="LiveId" clId="{83920342-FD9C-4F13-95F0-DE59E73574B3}" dt="2024-05-27T05:09:46.424" v="769" actId="6549"/>
        <pc:sldMkLst>
          <pc:docMk/>
          <pc:sldMk cId="2278060830" sldId="9501"/>
        </pc:sldMkLst>
        <pc:spChg chg="mod">
          <ac:chgData name="" userId="54b1a13f4a45dede" providerId="LiveId" clId="{83920342-FD9C-4F13-95F0-DE59E73574B3}" dt="2024-05-27T05:09:46.424" v="769" actId="6549"/>
          <ac:spMkLst>
            <pc:docMk/>
            <pc:sldMk cId="2278060830" sldId="9501"/>
            <ac:spMk id="7" creationId="{6D09A826-8B0D-4F59-AF3F-6D40321ECD90}"/>
          </ac:spMkLst>
        </pc:spChg>
      </pc:sldChg>
      <pc:sldChg chg="delSp modSp">
        <pc:chgData name="" userId="54b1a13f4a45dede" providerId="LiveId" clId="{83920342-FD9C-4F13-95F0-DE59E73574B3}" dt="2024-05-27T04:53:59.172" v="508" actId="478"/>
        <pc:sldMkLst>
          <pc:docMk/>
          <pc:sldMk cId="3658942736" sldId="9505"/>
        </pc:sldMkLst>
        <pc:spChg chg="mod">
          <ac:chgData name="" userId="54b1a13f4a45dede" providerId="LiveId" clId="{83920342-FD9C-4F13-95F0-DE59E73574B3}" dt="2024-05-27T04:53:57.559" v="507" actId="20577"/>
          <ac:spMkLst>
            <pc:docMk/>
            <pc:sldMk cId="3658942736" sldId="9505"/>
            <ac:spMk id="6" creationId="{64C16FE3-7FA4-469E-AD17-6EB564B2A81A}"/>
          </ac:spMkLst>
        </pc:spChg>
        <pc:spChg chg="del">
          <ac:chgData name="" userId="54b1a13f4a45dede" providerId="LiveId" clId="{83920342-FD9C-4F13-95F0-DE59E73574B3}" dt="2024-05-27T04:53:59.172" v="508" actId="478"/>
          <ac:spMkLst>
            <pc:docMk/>
            <pc:sldMk cId="3658942736" sldId="9505"/>
            <ac:spMk id="11" creationId="{A2D66672-0E0A-4E53-86CC-A254DFE0054F}"/>
          </ac:spMkLst>
        </pc:spChg>
      </pc:sldChg>
      <pc:sldChg chg="delSp modSp del">
        <pc:chgData name="" userId="54b1a13f4a45dede" providerId="LiveId" clId="{83920342-FD9C-4F13-95F0-DE59E73574B3}" dt="2024-05-27T04:54:07.543" v="509" actId="2696"/>
        <pc:sldMkLst>
          <pc:docMk/>
          <pc:sldMk cId="2183929285" sldId="9506"/>
        </pc:sldMkLst>
        <pc:spChg chg="del mod">
          <ac:chgData name="" userId="54b1a13f4a45dede" providerId="LiveId" clId="{83920342-FD9C-4F13-95F0-DE59E73574B3}" dt="2024-05-27T04:52:52.192" v="502"/>
          <ac:spMkLst>
            <pc:docMk/>
            <pc:sldMk cId="2183929285" sldId="9506"/>
            <ac:spMk id="6" creationId="{64C16FE3-7FA4-469E-AD17-6EB564B2A81A}"/>
          </ac:spMkLst>
        </pc:spChg>
      </pc:sldChg>
      <pc:sldChg chg="modSp">
        <pc:chgData name="" userId="54b1a13f4a45dede" providerId="LiveId" clId="{83920342-FD9C-4F13-95F0-DE59E73574B3}" dt="2024-05-27T05:14:57.629" v="782" actId="14100"/>
        <pc:sldMkLst>
          <pc:docMk/>
          <pc:sldMk cId="24086191" sldId="9507"/>
        </pc:sldMkLst>
        <pc:spChg chg="mod">
          <ac:chgData name="" userId="54b1a13f4a45dede" providerId="LiveId" clId="{83920342-FD9C-4F13-95F0-DE59E73574B3}" dt="2024-05-27T05:14:47.461" v="780" actId="1076"/>
          <ac:spMkLst>
            <pc:docMk/>
            <pc:sldMk cId="24086191" sldId="9507"/>
            <ac:spMk id="6" creationId="{64C16FE3-7FA4-469E-AD17-6EB564B2A81A}"/>
          </ac:spMkLst>
        </pc:spChg>
        <pc:spChg chg="mod">
          <ac:chgData name="" userId="54b1a13f4a45dede" providerId="LiveId" clId="{83920342-FD9C-4F13-95F0-DE59E73574B3}" dt="2024-05-27T05:14:57.629" v="782" actId="14100"/>
          <ac:spMkLst>
            <pc:docMk/>
            <pc:sldMk cId="24086191" sldId="9507"/>
            <ac:spMk id="9" creationId="{45F378DB-F22A-437E-A4D0-813D051015B2}"/>
          </ac:spMkLst>
        </pc:spChg>
      </pc:sldChg>
      <pc:sldChg chg="modSp add ord">
        <pc:chgData name="" userId="54b1a13f4a45dede" providerId="LiveId" clId="{83920342-FD9C-4F13-95F0-DE59E73574B3}" dt="2024-05-27T04:38:45.242" v="89" actId="20577"/>
        <pc:sldMkLst>
          <pc:docMk/>
          <pc:sldMk cId="2764145959" sldId="9508"/>
        </pc:sldMkLst>
        <pc:spChg chg="mod">
          <ac:chgData name="" userId="54b1a13f4a45dede" providerId="LiveId" clId="{83920342-FD9C-4F13-95F0-DE59E73574B3}" dt="2024-05-27T04:38:08.777" v="73" actId="20577"/>
          <ac:spMkLst>
            <pc:docMk/>
            <pc:sldMk cId="2764145959" sldId="9508"/>
            <ac:spMk id="5" creationId="{89779C84-7650-426D-8937-E2DCBAB1F40F}"/>
          </ac:spMkLst>
        </pc:spChg>
        <pc:spChg chg="mod">
          <ac:chgData name="" userId="54b1a13f4a45dede" providerId="LiveId" clId="{83920342-FD9C-4F13-95F0-DE59E73574B3}" dt="2024-05-27T04:38:45.242" v="89" actId="20577"/>
          <ac:spMkLst>
            <pc:docMk/>
            <pc:sldMk cId="2764145959" sldId="9508"/>
            <ac:spMk id="61" creationId="{A64104DE-B561-4486-B5F3-6569DAF427B4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Бюджет  на 2023 год</c:v>
                </c:pt>
              </c:strCache>
            </c:strRef>
          </c:tx>
          <c:spPr>
            <a:solidFill>
              <a:schemeClr val="accent6">
                <a:lumMod val="40000"/>
                <a:lumOff val="60000"/>
              </a:schemeClr>
            </a:solidFill>
            <a:ln w="25400">
              <a:solidFill>
                <a:schemeClr val="lt1"/>
              </a:solidFill>
            </a:ln>
            <a:effectLst/>
            <a:sp3d contourW="25400">
              <a:contourClr>
                <a:schemeClr val="lt1"/>
              </a:contourClr>
            </a:sp3d>
          </c:spPr>
          <c:invertIfNegative val="0"/>
          <c:dPt>
            <c:idx val="0"/>
            <c:invertIfNegative val="0"/>
            <c:bubble3D val="0"/>
            <c:spPr>
              <a:solidFill>
                <a:schemeClr val="accent1">
                  <a:lumMod val="40000"/>
                  <a:lumOff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4B5A-4DA8-B9EF-3A17B2B2D180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6">
                  <a:lumMod val="40000"/>
                  <a:lumOff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4-4B5A-4DA8-B9EF-3A17B2B2D180}"/>
              </c:ext>
            </c:extLst>
          </c:dPt>
          <c:cat>
            <c:strRef>
              <c:f>Лист1!$A$2:$A$3</c:f>
              <c:strCache>
                <c:ptCount val="2"/>
                <c:pt idx="0">
                  <c:v>Выделено</c:v>
                </c:pt>
                <c:pt idx="1">
                  <c:v>Освоено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403.2</c:v>
                </c:pt>
                <c:pt idx="1">
                  <c:v>403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B5A-4DA8-B9EF-3A17B2B2D18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shape val="box"/>
        <c:axId val="391130784"/>
        <c:axId val="391131112"/>
        <c:axId val="0"/>
      </c:bar3DChart>
      <c:catAx>
        <c:axId val="39113078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391131112"/>
        <c:crosses val="autoZero"/>
        <c:auto val="1"/>
        <c:lblAlgn val="ctr"/>
        <c:lblOffset val="100"/>
        <c:noMultiLvlLbl val="0"/>
      </c:catAx>
      <c:valAx>
        <c:axId val="39113111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3911307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:a16="http://schemas.microsoft.com/office/drawing/2014/main" id="{ADFC8963-2523-4E22-B3EE-278C2D79AE0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5"/>
            <a:ext cx="2946346" cy="497759"/>
          </a:xfrm>
          <a:prstGeom prst="rect">
            <a:avLst/>
          </a:prstGeom>
        </p:spPr>
        <p:txBody>
          <a:bodyPr vert="horz" lIns="91710" tIns="45855" rIns="91710" bIns="45855" rtlCol="0"/>
          <a:lstStyle>
            <a:lvl1pPr algn="l" defTabSz="919273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 dirty="0">
              <a:latin typeface="Arial" panose="020B0604020202020204" pitchFamily="34" charset="0"/>
            </a:endParaRP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E53BB5F1-5564-408D-AF85-DB8A71E785C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49768" y="5"/>
            <a:ext cx="2946345" cy="497759"/>
          </a:xfrm>
          <a:prstGeom prst="rect">
            <a:avLst/>
          </a:prstGeom>
        </p:spPr>
        <p:txBody>
          <a:bodyPr vert="horz" lIns="91710" tIns="45855" rIns="91710" bIns="45855" rtlCol="0"/>
          <a:lstStyle>
            <a:lvl1pPr algn="r" defTabSz="919273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65FC51AD-3A42-4308-AE02-C4769D5FDC58}" type="datetimeFigureOut">
              <a:rPr lang="ru-RU">
                <a:latin typeface="Arial" panose="020B0604020202020204" pitchFamily="34" charset="0"/>
              </a:rPr>
              <a:pPr>
                <a:defRPr/>
              </a:pPr>
              <a:t>10.06.2024</a:t>
            </a:fld>
            <a:endParaRPr lang="ru-RU" dirty="0">
              <a:latin typeface="Arial" panose="020B0604020202020204" pitchFamily="34" charset="0"/>
            </a:endParaRPr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77D5B113-E6A1-4D45-8578-CCBE143AB89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1" y="9428891"/>
            <a:ext cx="2946346" cy="497759"/>
          </a:xfrm>
          <a:prstGeom prst="rect">
            <a:avLst/>
          </a:prstGeom>
        </p:spPr>
        <p:txBody>
          <a:bodyPr vert="horz" lIns="91710" tIns="45855" rIns="91710" bIns="45855" rtlCol="0" anchor="b"/>
          <a:lstStyle>
            <a:lvl1pPr algn="l" defTabSz="919273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 dirty="0">
              <a:latin typeface="Arial" panose="020B0604020202020204" pitchFamily="34" charset="0"/>
            </a:endParaRPr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0390484A-0F79-4591-8297-BED10FBB777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49768" y="9428891"/>
            <a:ext cx="2946345" cy="497759"/>
          </a:xfrm>
          <a:prstGeom prst="rect">
            <a:avLst/>
          </a:prstGeom>
        </p:spPr>
        <p:txBody>
          <a:bodyPr vert="horz" wrap="square" lIns="91710" tIns="45855" rIns="91710" bIns="45855" numCol="1" anchor="b" anchorCtr="0" compatLnSpc="1">
            <a:prstTxWarp prst="textNoShape">
              <a:avLst/>
            </a:prstTxWarp>
          </a:bodyPr>
          <a:lstStyle>
            <a:lvl1pPr algn="r" defTabSz="917784">
              <a:defRPr sz="1200"/>
            </a:lvl1pPr>
          </a:lstStyle>
          <a:p>
            <a:fld id="{4DE45DD4-AB7F-4AB0-A750-CE638BB6A441}" type="slidenum">
              <a:rPr lang="ru-RU" altLang="ru-RU">
                <a:latin typeface="Arial" panose="020B0604020202020204" pitchFamily="34" charset="0"/>
              </a:rPr>
              <a:pPr/>
              <a:t>‹#›</a:t>
            </a:fld>
            <a:endParaRPr lang="ru-RU" altLang="ru-RU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3823837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:a16="http://schemas.microsoft.com/office/drawing/2014/main" id="{78572ECC-BD59-43A3-BE3D-CCCF92563A8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5"/>
            <a:ext cx="2946346" cy="497759"/>
          </a:xfrm>
          <a:prstGeom prst="rect">
            <a:avLst/>
          </a:prstGeom>
        </p:spPr>
        <p:txBody>
          <a:bodyPr vert="horz" lIns="91710" tIns="45855" rIns="91710" bIns="45855" rtlCol="0"/>
          <a:lstStyle>
            <a:lvl1pPr algn="l" defTabSz="919273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Arial" panose="020B0604020202020204" pitchFamily="34" charset="0"/>
                <a:cs typeface="+mn-cs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97BA5FEE-702A-431C-AA57-6EE660B48AC9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49768" y="5"/>
            <a:ext cx="2946345" cy="497759"/>
          </a:xfrm>
          <a:prstGeom prst="rect">
            <a:avLst/>
          </a:prstGeom>
        </p:spPr>
        <p:txBody>
          <a:bodyPr vert="horz" lIns="91710" tIns="45855" rIns="91710" bIns="45855" rtlCol="0"/>
          <a:lstStyle>
            <a:lvl1pPr algn="r" defTabSz="919273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Arial" panose="020B0604020202020204" pitchFamily="34" charset="0"/>
                <a:cs typeface="+mn-cs"/>
              </a:defRPr>
            </a:lvl1pPr>
          </a:lstStyle>
          <a:p>
            <a:pPr>
              <a:defRPr/>
            </a:pPr>
            <a:fld id="{53B1E05B-98FE-4E4C-803B-B55B2E198AC7}" type="datetimeFigureOut">
              <a:rPr lang="ru-RU" smtClean="0"/>
              <a:pPr>
                <a:defRPr/>
              </a:pPr>
              <a:t>10.06.2024</a:t>
            </a:fld>
            <a:endParaRPr lang="ru-RU" dirty="0"/>
          </a:p>
        </p:txBody>
      </p:sp>
      <p:sp>
        <p:nvSpPr>
          <p:cNvPr id="4" name="Образ слайда 3">
            <a:extLst>
              <a:ext uri="{FF2B5EF4-FFF2-40B4-BE49-F238E27FC236}">
                <a16:creationId xmlns:a16="http://schemas.microsoft.com/office/drawing/2014/main" id="{CCB2F0AD-F5D5-4C86-ACF0-E021E5796499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423863" y="1239838"/>
            <a:ext cx="5949950" cy="33480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710" tIns="45855" rIns="91710" bIns="45855" rtlCol="0" anchor="ctr"/>
          <a:lstStyle/>
          <a:p>
            <a:pPr lvl="0"/>
            <a:endParaRPr lang="ru-RU" noProof="0" dirty="0"/>
          </a:p>
        </p:txBody>
      </p:sp>
      <p:sp>
        <p:nvSpPr>
          <p:cNvPr id="5" name="Заметки 4">
            <a:extLst>
              <a:ext uri="{FF2B5EF4-FFF2-40B4-BE49-F238E27FC236}">
                <a16:creationId xmlns:a16="http://schemas.microsoft.com/office/drawing/2014/main" id="{592FAAD7-7B62-4026-8F44-12A0F4C86DF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79927" y="4776275"/>
            <a:ext cx="5437822" cy="3910734"/>
          </a:xfrm>
          <a:prstGeom prst="rect">
            <a:avLst/>
          </a:prstGeom>
        </p:spPr>
        <p:txBody>
          <a:bodyPr vert="horz" lIns="91710" tIns="45855" rIns="91710" bIns="45855" rtlCol="0"/>
          <a:lstStyle/>
          <a:p>
            <a:pPr lvl="0"/>
            <a:r>
              <a:rPr lang="ru-RU" noProof="0" dirty="0"/>
              <a:t>Образец текста</a:t>
            </a:r>
          </a:p>
          <a:p>
            <a:pPr lvl="1"/>
            <a:r>
              <a:rPr lang="ru-RU" noProof="0" dirty="0"/>
              <a:t>Второй уровень</a:t>
            </a:r>
          </a:p>
          <a:p>
            <a:pPr lvl="2"/>
            <a:r>
              <a:rPr lang="ru-RU" noProof="0" dirty="0"/>
              <a:t>Третий уровень</a:t>
            </a:r>
          </a:p>
          <a:p>
            <a:pPr lvl="3"/>
            <a:r>
              <a:rPr lang="ru-RU" noProof="0" dirty="0"/>
              <a:t>Четвертый уровень</a:t>
            </a:r>
          </a:p>
          <a:p>
            <a:pPr lvl="4"/>
            <a:r>
              <a:rPr lang="ru-RU" noProof="0" dirty="0"/>
              <a:t>Пятый уровень</a:t>
            </a:r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E7229559-B7D3-4691-B820-0277326DCAE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1" y="9428891"/>
            <a:ext cx="2946346" cy="497759"/>
          </a:xfrm>
          <a:prstGeom prst="rect">
            <a:avLst/>
          </a:prstGeom>
        </p:spPr>
        <p:txBody>
          <a:bodyPr vert="horz" lIns="91710" tIns="45855" rIns="91710" bIns="45855" rtlCol="0" anchor="b"/>
          <a:lstStyle>
            <a:lvl1pPr algn="l" defTabSz="919273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Arial" panose="020B0604020202020204" pitchFamily="34" charset="0"/>
                <a:cs typeface="+mn-cs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30483DBB-AADD-48AE-8641-2F93B5BC013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49768" y="9428891"/>
            <a:ext cx="2946345" cy="497759"/>
          </a:xfrm>
          <a:prstGeom prst="rect">
            <a:avLst/>
          </a:prstGeom>
        </p:spPr>
        <p:txBody>
          <a:bodyPr vert="horz" wrap="square" lIns="91710" tIns="45855" rIns="91710" bIns="45855" numCol="1" anchor="b" anchorCtr="0" compatLnSpc="1">
            <a:prstTxWarp prst="textNoShape">
              <a:avLst/>
            </a:prstTxWarp>
          </a:bodyPr>
          <a:lstStyle>
            <a:lvl1pPr algn="r" defTabSz="917784">
              <a:defRPr sz="1200">
                <a:latin typeface="Arial" panose="020B0604020202020204" pitchFamily="34" charset="0"/>
              </a:defRPr>
            </a:lvl1pPr>
          </a:lstStyle>
          <a:p>
            <a:fld id="{6B3E2739-4C72-4271-8277-AC94C9F4E968}" type="slidenum">
              <a:rPr lang="ru-RU" altLang="ru-RU" smtClean="0"/>
              <a:pPr/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1835478982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690563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344488" algn="l" defTabSz="690563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690563" algn="l" defTabSz="690563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035050" algn="l" defTabSz="690563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381125" algn="l" defTabSz="690563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1728180" algn="l" defTabSz="691272" rtl="0" eaLnBrk="1" latinLnBrk="0" hangingPunct="1">
      <a:defRPr sz="908" kern="1200">
        <a:solidFill>
          <a:schemeClr val="tx1"/>
        </a:solidFill>
        <a:latin typeface="+mn-lt"/>
        <a:ea typeface="+mn-ea"/>
        <a:cs typeface="+mn-cs"/>
      </a:defRPr>
    </a:lvl6pPr>
    <a:lvl7pPr marL="2073815" algn="l" defTabSz="691272" rtl="0" eaLnBrk="1" latinLnBrk="0" hangingPunct="1">
      <a:defRPr sz="908" kern="1200">
        <a:solidFill>
          <a:schemeClr val="tx1"/>
        </a:solidFill>
        <a:latin typeface="+mn-lt"/>
        <a:ea typeface="+mn-ea"/>
        <a:cs typeface="+mn-cs"/>
      </a:defRPr>
    </a:lvl7pPr>
    <a:lvl8pPr marL="2419450" algn="l" defTabSz="691272" rtl="0" eaLnBrk="1" latinLnBrk="0" hangingPunct="1">
      <a:defRPr sz="908" kern="1200">
        <a:solidFill>
          <a:schemeClr val="tx1"/>
        </a:solidFill>
        <a:latin typeface="+mn-lt"/>
        <a:ea typeface="+mn-ea"/>
        <a:cs typeface="+mn-cs"/>
      </a:defRPr>
    </a:lvl8pPr>
    <a:lvl9pPr marL="2765086" algn="l" defTabSz="691272" rtl="0" eaLnBrk="1" latinLnBrk="0" hangingPunct="1">
      <a:defRPr sz="908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KZ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B3E2739-4C72-4271-8277-AC94C9F4E968}" type="slidenum">
              <a:rPr lang="ru-RU" altLang="ru-RU" smtClean="0"/>
              <a:pPr/>
              <a:t>1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6458327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Н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10160000" cy="320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69111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5408082"/>
            <a:ext cx="10160000" cy="320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69111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6" name="TextBox 3"/>
          <p:cNvSpPr txBox="1">
            <a:spLocks noChangeArrowheads="1"/>
          </p:cNvSpPr>
          <p:nvPr userDrawn="1"/>
        </p:nvSpPr>
        <p:spPr bwMode="auto">
          <a:xfrm>
            <a:off x="2" y="5379998"/>
            <a:ext cx="10159999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6905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г. </a:t>
            </a:r>
            <a:r>
              <a:rPr kumimoji="0" lang="ru-RU" altLang="ru-RU" sz="1400" b="1" i="0" u="none" strike="noStrike" kern="1200" cap="small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</a:t>
            </a:r>
            <a:r>
              <a:rPr kumimoji="0" lang="kk-KZ" altLang="ru-RU" sz="1400" b="1" i="0" u="none" strike="noStrike" kern="1200" cap="small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у</a:t>
            </a:r>
            <a:r>
              <a:rPr kumimoji="0" lang="ru-RU" altLang="ru-RU" sz="1400" b="1" i="0" u="none" strike="noStrike" kern="1200" cap="small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р-Султан, июль 2020 года</a:t>
            </a:r>
          </a:p>
        </p:txBody>
      </p:sp>
      <p:sp>
        <p:nvSpPr>
          <p:cNvPr id="7" name="TextBox 3"/>
          <p:cNvSpPr txBox="1">
            <a:spLocks noChangeArrowheads="1"/>
          </p:cNvSpPr>
          <p:nvPr userDrawn="1"/>
        </p:nvSpPr>
        <p:spPr bwMode="auto">
          <a:xfrm>
            <a:off x="0" y="-10987"/>
            <a:ext cx="10160000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6905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ИНИСТЕРСТВО НАЦИОНАЛЬНОЙ ЭКОНОМИКИ РЕСПУБЛИКИ КАЗАХСТАН</a:t>
            </a:r>
          </a:p>
        </p:txBody>
      </p:sp>
      <p:pic>
        <p:nvPicPr>
          <p:cNvPr id="8" name="Picture 744" descr="ÐÐ°ÑÑÐ¸Ð½ÐºÐ¸ Ð¿Ð¾ Ð·Ð°Ð¿ÑÐ¾ÑÑ Ð³ÐµÑÐ± ÐºÐ°Ð·Ð°ÑÑÑÐ°Ð½Ð° png"/>
          <p:cNvPicPr>
            <a:picLocks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480277" y="833615"/>
            <a:ext cx="1199444" cy="1201208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0970222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ПМ_П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116" r="15116"/>
          <a:stretch>
            <a:fillRect/>
          </a:stretch>
        </p:blipFill>
        <p:spPr>
          <a:xfrm>
            <a:off x="3237485" y="1"/>
            <a:ext cx="6922517" cy="5367867"/>
          </a:xfrm>
          <a:custGeom>
            <a:avLst/>
            <a:gdLst>
              <a:gd name="connsiteX0" fmla="*/ 7286774 w 7286774"/>
              <a:gd name="connsiteY0" fmla="*/ 2450006 h 5649004"/>
              <a:gd name="connsiteX1" fmla="*/ 7286774 w 7286774"/>
              <a:gd name="connsiteY1" fmla="*/ 3892710 h 5649004"/>
              <a:gd name="connsiteX2" fmla="*/ 5530479 w 7286774"/>
              <a:gd name="connsiteY2" fmla="*/ 5649004 h 5649004"/>
              <a:gd name="connsiteX3" fmla="*/ 4809128 w 7286774"/>
              <a:gd name="connsiteY3" fmla="*/ 4927652 h 5649004"/>
              <a:gd name="connsiteX4" fmla="*/ 0 w 7286774"/>
              <a:gd name="connsiteY4" fmla="*/ 0 h 5649004"/>
              <a:gd name="connsiteX5" fmla="*/ 7286774 w 7286774"/>
              <a:gd name="connsiteY5" fmla="*/ 1 h 5649004"/>
              <a:gd name="connsiteX6" fmla="*/ 7286774 w 7286774"/>
              <a:gd name="connsiteY6" fmla="*/ 2055041 h 5649004"/>
              <a:gd name="connsiteX7" fmla="*/ 4670906 w 7286774"/>
              <a:gd name="connsiteY7" fmla="*/ 4670909 h 56490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286774" h="5649004">
                <a:moveTo>
                  <a:pt x="7286774" y="2450006"/>
                </a:moveTo>
                <a:lnTo>
                  <a:pt x="7286774" y="3892710"/>
                </a:lnTo>
                <a:lnTo>
                  <a:pt x="5530479" y="5649004"/>
                </a:lnTo>
                <a:lnTo>
                  <a:pt x="4809128" y="4927652"/>
                </a:lnTo>
                <a:close/>
                <a:moveTo>
                  <a:pt x="0" y="0"/>
                </a:moveTo>
                <a:lnTo>
                  <a:pt x="7286774" y="1"/>
                </a:lnTo>
                <a:lnTo>
                  <a:pt x="7286774" y="2055041"/>
                </a:lnTo>
                <a:lnTo>
                  <a:pt x="4670906" y="4670909"/>
                </a:lnTo>
                <a:close/>
              </a:path>
            </a:pathLst>
          </a:custGeom>
        </p:spPr>
      </p:pic>
      <p:sp>
        <p:nvSpPr>
          <p:cNvPr id="4" name="Параллелограмм 3"/>
          <p:cNvSpPr/>
          <p:nvPr userDrawn="1"/>
        </p:nvSpPr>
        <p:spPr>
          <a:xfrm flipH="1">
            <a:off x="2685474" y="0"/>
            <a:ext cx="6255328" cy="5715000"/>
          </a:xfrm>
          <a:prstGeom prst="parallelogram">
            <a:avLst>
              <a:gd name="adj" fmla="val 98650"/>
            </a:avLst>
          </a:prstGeom>
          <a:solidFill>
            <a:srgbClr val="0187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20728" eaLnBrk="0" hangingPunct="0">
              <a:defRPr/>
            </a:pPr>
            <a:endParaRPr lang="ru-RU" sz="2400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cxnSp>
        <p:nvCxnSpPr>
          <p:cNvPr id="5" name="Прямая соединительная линия 4"/>
          <p:cNvCxnSpPr/>
          <p:nvPr userDrawn="1"/>
        </p:nvCxnSpPr>
        <p:spPr>
          <a:xfrm>
            <a:off x="110821" y="4522789"/>
            <a:ext cx="6713314" cy="32279"/>
          </a:xfrm>
          <a:prstGeom prst="line">
            <a:avLst/>
          </a:prstGeom>
          <a:ln w="38100">
            <a:solidFill>
              <a:srgbClr val="1A497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3"/>
          <p:cNvSpPr txBox="1">
            <a:spLocks noChangeArrowheads="1"/>
          </p:cNvSpPr>
          <p:nvPr userDrawn="1"/>
        </p:nvSpPr>
        <p:spPr bwMode="auto">
          <a:xfrm>
            <a:off x="134053" y="5367868"/>
            <a:ext cx="4550832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defTabSz="920728" eaLnBrk="0" hangingPunct="0">
              <a:defRPr/>
            </a:pPr>
            <a:r>
              <a:rPr lang="ru-RU" altLang="ru-RU" sz="1400" b="1" cap="small" spc="100" dirty="0">
                <a:solidFill>
                  <a:srgbClr val="002060"/>
                </a:solidFill>
                <a:latin typeface="Arial" pitchFamily="34" charset="0"/>
              </a:rPr>
              <a:t>г. Н</a:t>
            </a:r>
            <a:r>
              <a:rPr lang="kk-KZ" altLang="ru-RU" sz="1400" b="1" cap="small" spc="100" dirty="0">
                <a:solidFill>
                  <a:srgbClr val="002060"/>
                </a:solidFill>
                <a:latin typeface="Arial" pitchFamily="34" charset="0"/>
              </a:rPr>
              <a:t>у</a:t>
            </a:r>
            <a:r>
              <a:rPr lang="ru-RU" altLang="ru-RU" sz="1400" b="1" cap="small" spc="100" dirty="0">
                <a:solidFill>
                  <a:srgbClr val="002060"/>
                </a:solidFill>
                <a:latin typeface="Arial" pitchFamily="34" charset="0"/>
              </a:rPr>
              <a:t>р-Султан, июнь 2021 года</a:t>
            </a:r>
          </a:p>
        </p:txBody>
      </p:sp>
      <p:pic>
        <p:nvPicPr>
          <p:cNvPr id="6" name="Picture 744" descr="ÐÐ°ÑÑÐ¸Ð½ÐºÐ¸ Ð¿Ð¾ Ð·Ð°Ð¿ÑÐ¾ÑÑ Ð³ÐµÑÐ± ÐºÐ°Ð·Ð°ÑÑÑÐ°Ð½Ð° png"/>
          <p:cNvPicPr>
            <a:picLocks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36689" y="296475"/>
            <a:ext cx="1599259" cy="1601610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9675517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Форма_1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9838975" y="5535086"/>
            <a:ext cx="363361" cy="17991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0546">
              <a:defRPr/>
            </a:pPr>
            <a:fld id="{CF64C8AB-A359-4283-8B1E-EBE022F7DEE2}" type="slidenum">
              <a:rPr lang="ru-RU" altLang="ru-RU" sz="800"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pPr algn="ctr" defTabSz="690546">
                <a:defRPr/>
              </a:pPr>
              <a:t>‹#›</a:t>
            </a:fld>
            <a:endParaRPr lang="ru-RU" altLang="ru-RU" sz="800"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0" y="620889"/>
            <a:ext cx="10160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630924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5535085"/>
            <a:ext cx="10160000" cy="179917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 eaLnBrk="0" hangingPunct="0">
              <a:defRPr/>
            </a:pPr>
            <a:endParaRPr lang="ru-RU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3" name="Прямоугольник 2"/>
          <p:cNvSpPr/>
          <p:nvPr userDrawn="1"/>
        </p:nvSpPr>
        <p:spPr>
          <a:xfrm>
            <a:off x="9796641" y="5535085"/>
            <a:ext cx="363361" cy="17991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fld id="{2BD02EE5-D451-4137-BAEF-A3149E8D216F}" type="slidenum">
              <a:rPr lang="ru-RU" altLang="ru-RU" sz="800" b="1" smtClean="0">
                <a:solidFill>
                  <a:prstClr val="white"/>
                </a:solidFill>
                <a:latin typeface="Arial" panose="020B0604020202020204" pitchFamily="34" charset="0"/>
              </a:rPr>
              <a:pPr algn="ctr" eaLnBrk="1" hangingPunct="1">
                <a:defRPr/>
              </a:pPr>
              <a:t>‹#›</a:t>
            </a:fld>
            <a:endParaRPr lang="ru-RU" altLang="ru-RU" sz="800" b="1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0" y="620889"/>
            <a:ext cx="10160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198057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Слайд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9850158" y="5543191"/>
            <a:ext cx="412582" cy="17991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defTabSz="690546">
              <a:defRPr/>
            </a:pPr>
            <a:fld id="{6A93956F-647A-44B9-8163-DDB447652883}" type="slidenum">
              <a:rPr lang="ru-RU" altLang="ru-RU" sz="800" smtClean="0">
                <a:solidFill>
                  <a:prstClr val="black"/>
                </a:solidFill>
                <a:latin typeface="Arial" panose="020B0604020202020204" pitchFamily="34" charset="0"/>
              </a:rPr>
              <a:pPr algn="ctr" defTabSz="690546">
                <a:defRPr/>
              </a:pPr>
              <a:t>‹#›</a:t>
            </a:fld>
            <a:endParaRPr lang="ru-RU" altLang="ru-RU" sz="800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  <p:cxnSp>
        <p:nvCxnSpPr>
          <p:cNvPr id="4" name="Straight Connector 284">
            <a:extLst>
              <a:ext uri="{FF2B5EF4-FFF2-40B4-BE49-F238E27FC236}">
                <a16:creationId xmlns:a16="http://schemas.microsoft.com/office/drawing/2014/main" id="{86F53329-7572-4F05-861B-42919DD9BAB0}"/>
              </a:ext>
            </a:extLst>
          </p:cNvPr>
          <p:cNvCxnSpPr/>
          <p:nvPr userDrawn="1"/>
        </p:nvCxnSpPr>
        <p:spPr>
          <a:xfrm>
            <a:off x="0" y="563887"/>
            <a:ext cx="10160000" cy="0"/>
          </a:xfrm>
          <a:prstGeom prst="line">
            <a:avLst/>
          </a:prstGeom>
          <a:ln w="2857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043585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451C9F8-CD44-49B3-9349-45FE6EA60B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801" y="1351"/>
          <a:ext cx="1800" cy="13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2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451C9F8-CD44-49B3-9349-45FE6EA60BB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01" y="1351"/>
                        <a:ext cx="1800" cy="13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3E0B84D-EB8B-4BBA-8DC1-EF6272CF35B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1"/>
            <a:ext cx="179982" cy="134979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015990"/>
            <a:endParaRPr lang="en-US" sz="1616" dirty="0">
              <a:solidFill>
                <a:srgbClr val="000000"/>
              </a:solidFill>
              <a:latin typeface="Segoe UI Black" panose="020B0A02040204020203" pitchFamily="34" charset="0"/>
              <a:cs typeface="+mj-cs"/>
              <a:sym typeface="Segoe UI Black" panose="020B0A02040204020203" pitchFamily="34" charset="0"/>
            </a:endParaRP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9823862" y="5533740"/>
            <a:ext cx="107402" cy="104644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defTabSz="1015990"/>
            <a:fld id="{42C328C1-A84F-4A39-A664-DBA00541A8C6}" type="slidenum">
              <a:rPr lang="ru-RU" sz="680" smtClean="0">
                <a:solidFill>
                  <a:srgbClr val="808080"/>
                </a:solidFill>
                <a:latin typeface="Arial" panose="020B0604020202020204" pitchFamily="34" charset="0"/>
              </a:rPr>
              <a:pPr defTabSz="1015990"/>
              <a:t>‹#›</a:t>
            </a:fld>
            <a:endParaRPr lang="ru-RU" sz="680" dirty="0">
              <a:solidFill>
                <a:srgbClr val="808080"/>
              </a:solidFill>
              <a:latin typeface="Arial" panose="020B0604020202020204" pitchFamily="34" charset="0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9162899" y="43195"/>
            <a:ext cx="745127" cy="1039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761239"/>
            <a:endParaRPr lang="ru-RU" sz="680" dirty="0">
              <a:solidFill>
                <a:srgbClr val="808080"/>
              </a:solidFill>
              <a:latin typeface="Segoe UI Light"/>
            </a:endParaRPr>
          </a:p>
        </p:txBody>
      </p:sp>
    </p:spTree>
    <p:extLst>
      <p:ext uri="{BB962C8B-B14F-4D97-AF65-F5344CB8AC3E}">
        <p14:creationId xmlns:p14="http://schemas.microsoft.com/office/powerpoint/2010/main" val="24589727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617">
          <p15:clr>
            <a:srgbClr val="F26B43"/>
          </p15:clr>
        </p15:guide>
        <p15:guide id="2" pos="76">
          <p15:clr>
            <a:srgbClr val="F26B43"/>
          </p15:clr>
        </p15:guide>
        <p15:guide id="3" orient="horz" pos="437">
          <p15:clr>
            <a:srgbClr val="F26B43"/>
          </p15:clr>
        </p15:guide>
        <p15:guide id="4" orient="horz" pos="2993">
          <p15:clr>
            <a:srgbClr val="F26B43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B19B0651-EE4F-4900-A07F-96A6BFA9D0F0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274048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Без нумерации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499126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2000" y="935303"/>
            <a:ext cx="8636000" cy="1989667"/>
          </a:xfrm>
        </p:spPr>
        <p:txBody>
          <a:bodyPr anchor="b"/>
          <a:lstStyle>
            <a:lvl1pPr algn="ctr">
              <a:defRPr sz="5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70001" y="3001699"/>
            <a:ext cx="7620000" cy="1379802"/>
          </a:xfrm>
        </p:spPr>
        <p:txBody>
          <a:bodyPr/>
          <a:lstStyle>
            <a:lvl1pPr marL="0" indent="0" algn="ctr">
              <a:buNone/>
              <a:defRPr sz="2000"/>
            </a:lvl1pPr>
            <a:lvl2pPr marL="380956" indent="0" algn="ctr">
              <a:buNone/>
              <a:defRPr sz="1667"/>
            </a:lvl2pPr>
            <a:lvl3pPr marL="761913" indent="0" algn="ctr">
              <a:buNone/>
              <a:defRPr sz="1500"/>
            </a:lvl3pPr>
            <a:lvl4pPr marL="1142868" indent="0" algn="ctr">
              <a:buNone/>
              <a:defRPr sz="1333"/>
            </a:lvl4pPr>
            <a:lvl5pPr marL="1523825" indent="0" algn="ctr">
              <a:buNone/>
              <a:defRPr sz="1333"/>
            </a:lvl5pPr>
            <a:lvl6pPr marL="1904782" indent="0" algn="ctr">
              <a:buNone/>
              <a:defRPr sz="1333"/>
            </a:lvl6pPr>
            <a:lvl7pPr marL="2285738" indent="0" algn="ctr">
              <a:buNone/>
              <a:defRPr sz="1333"/>
            </a:lvl7pPr>
            <a:lvl8pPr marL="2666694" indent="0" algn="ctr">
              <a:buNone/>
              <a:defRPr sz="1333"/>
            </a:lvl8pPr>
            <a:lvl9pPr marL="3047650" indent="0" algn="ctr">
              <a:buNone/>
              <a:defRPr sz="1333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14E900A-5EC1-4BF1-AC9B-9E7039A015E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9834384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6C1F34-3830-46A4-B8BB-08EE3300A203}" type="datetimeFigureOut">
              <a:rPr lang="ru-RU" smtClean="0"/>
              <a:t>10.06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FB24C8-D20A-41EB-8920-D5486A21212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0420227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М_Г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10160000" cy="320000"/>
          </a:xfrm>
          <a:prstGeom prst="rect">
            <a:avLst/>
          </a:prstGeom>
          <a:solidFill>
            <a:srgbClr val="48C1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69111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5408082"/>
            <a:ext cx="10160000" cy="320000"/>
          </a:xfrm>
          <a:prstGeom prst="rect">
            <a:avLst/>
          </a:prstGeom>
          <a:solidFill>
            <a:srgbClr val="48C1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69111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24" name="Рисунок 23" descr="Logo_of_the_Amanat_political_party.svg.png">
            <a:extLst>
              <a:ext uri="{FF2B5EF4-FFF2-40B4-BE49-F238E27FC236}">
                <a16:creationId xmlns:a16="http://schemas.microsoft.com/office/drawing/2014/main" id="{7C342746-C302-46D2-B1E8-1462467971D5}"/>
              </a:ext>
            </a:extLst>
          </p:cNvPr>
          <p:cNvPicPr>
            <a:picLocks/>
          </p:cNvPicPr>
          <p:nvPr userDrawn="1"/>
        </p:nvPicPr>
        <p:blipFill rotWithShape="1">
          <a:blip r:embed="rId2" cstate="print"/>
          <a:srcRect r="68071"/>
          <a:stretch/>
        </p:blipFill>
        <p:spPr>
          <a:xfrm>
            <a:off x="292335" y="2166855"/>
            <a:ext cx="1403242" cy="1382400"/>
          </a:xfrm>
          <a:prstGeom prst="rect">
            <a:avLst/>
          </a:prstGeom>
        </p:spPr>
      </p:pic>
      <p:grpSp>
        <p:nvGrpSpPr>
          <p:cNvPr id="2" name="Группа 21">
            <a:extLst>
              <a:ext uri="{FF2B5EF4-FFF2-40B4-BE49-F238E27FC236}">
                <a16:creationId xmlns:a16="http://schemas.microsoft.com/office/drawing/2014/main" id="{E78B1657-EAE0-4D5D-4C0B-58E86C16CB20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292335" y="320001"/>
            <a:ext cx="1403241" cy="1992078"/>
            <a:chOff x="464265" y="2731224"/>
            <a:chExt cx="970344" cy="1850030"/>
          </a:xfrm>
          <a:solidFill>
            <a:srgbClr val="48C1BE"/>
          </a:solidFill>
        </p:grpSpPr>
        <p:sp>
          <p:nvSpPr>
            <p:cNvPr id="3" name="Graphic 1">
              <a:extLst>
                <a:ext uri="{FF2B5EF4-FFF2-40B4-BE49-F238E27FC236}">
                  <a16:creationId xmlns:a16="http://schemas.microsoft.com/office/drawing/2014/main" id="{DFBBBB61-1A84-FDF4-C3CB-87A94EAC8BAA}"/>
                </a:ext>
              </a:extLst>
            </p:cNvPr>
            <p:cNvSpPr/>
            <p:nvPr/>
          </p:nvSpPr>
          <p:spPr>
            <a:xfrm>
              <a:off x="464265" y="2731224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" name="Graphic 1">
              <a:extLst>
                <a:ext uri="{FF2B5EF4-FFF2-40B4-BE49-F238E27FC236}">
                  <a16:creationId xmlns:a16="http://schemas.microsoft.com/office/drawing/2014/main" id="{CD0D364A-218C-E926-9865-7BD3DB9D5246}"/>
                </a:ext>
              </a:extLst>
            </p:cNvPr>
            <p:cNvSpPr/>
            <p:nvPr/>
          </p:nvSpPr>
          <p:spPr>
            <a:xfrm>
              <a:off x="949437" y="2731224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6" name="Graphic 1">
              <a:extLst>
                <a:ext uri="{FF2B5EF4-FFF2-40B4-BE49-F238E27FC236}">
                  <a16:creationId xmlns:a16="http://schemas.microsoft.com/office/drawing/2014/main" id="{0371CE0E-EC34-178B-8ED4-03141656861D}"/>
                </a:ext>
              </a:extLst>
            </p:cNvPr>
            <p:cNvSpPr/>
            <p:nvPr/>
          </p:nvSpPr>
          <p:spPr>
            <a:xfrm>
              <a:off x="464265" y="3189764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7" name="Graphic 1">
              <a:extLst>
                <a:ext uri="{FF2B5EF4-FFF2-40B4-BE49-F238E27FC236}">
                  <a16:creationId xmlns:a16="http://schemas.microsoft.com/office/drawing/2014/main" id="{C472E3F3-9293-0D19-78A4-ECE7278E24CD}"/>
                </a:ext>
              </a:extLst>
            </p:cNvPr>
            <p:cNvSpPr/>
            <p:nvPr/>
          </p:nvSpPr>
          <p:spPr>
            <a:xfrm>
              <a:off x="949437" y="3189764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8" name="Graphic 1">
              <a:extLst>
                <a:ext uri="{FF2B5EF4-FFF2-40B4-BE49-F238E27FC236}">
                  <a16:creationId xmlns:a16="http://schemas.microsoft.com/office/drawing/2014/main" id="{29F5D2A1-FE46-EDCC-48F2-75168CFDAAAC}"/>
                </a:ext>
              </a:extLst>
            </p:cNvPr>
            <p:cNvSpPr/>
            <p:nvPr/>
          </p:nvSpPr>
          <p:spPr>
            <a:xfrm>
              <a:off x="464265" y="3648306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9" name="Graphic 1">
              <a:extLst>
                <a:ext uri="{FF2B5EF4-FFF2-40B4-BE49-F238E27FC236}">
                  <a16:creationId xmlns:a16="http://schemas.microsoft.com/office/drawing/2014/main" id="{69BE5219-673C-203C-75DC-0D42181F62CD}"/>
                </a:ext>
              </a:extLst>
            </p:cNvPr>
            <p:cNvSpPr/>
            <p:nvPr/>
          </p:nvSpPr>
          <p:spPr>
            <a:xfrm>
              <a:off x="949437" y="3648306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0" name="Graphic 1">
              <a:extLst>
                <a:ext uri="{FF2B5EF4-FFF2-40B4-BE49-F238E27FC236}">
                  <a16:creationId xmlns:a16="http://schemas.microsoft.com/office/drawing/2014/main" id="{C5787EEB-C942-74A0-1AD6-B90685E3DFC6}"/>
                </a:ext>
              </a:extLst>
            </p:cNvPr>
            <p:cNvSpPr/>
            <p:nvPr/>
          </p:nvSpPr>
          <p:spPr>
            <a:xfrm>
              <a:off x="464265" y="4106846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1" name="Graphic 1">
              <a:extLst>
                <a:ext uri="{FF2B5EF4-FFF2-40B4-BE49-F238E27FC236}">
                  <a16:creationId xmlns:a16="http://schemas.microsoft.com/office/drawing/2014/main" id="{18EE3150-6A32-3BB4-C89B-75B6657DD14A}"/>
                </a:ext>
              </a:extLst>
            </p:cNvPr>
            <p:cNvSpPr/>
            <p:nvPr/>
          </p:nvSpPr>
          <p:spPr>
            <a:xfrm>
              <a:off x="949437" y="4106846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2" name="Группа 21">
            <a:extLst>
              <a:ext uri="{FF2B5EF4-FFF2-40B4-BE49-F238E27FC236}">
                <a16:creationId xmlns:a16="http://schemas.microsoft.com/office/drawing/2014/main" id="{9FBF294D-5286-969F-647F-666FFF6BAB3C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292336" y="3401078"/>
            <a:ext cx="1403241" cy="1992078"/>
            <a:chOff x="464265" y="2731224"/>
            <a:chExt cx="970344" cy="1850030"/>
          </a:xfrm>
          <a:solidFill>
            <a:srgbClr val="48C1BE"/>
          </a:solidFill>
        </p:grpSpPr>
        <p:sp>
          <p:nvSpPr>
            <p:cNvPr id="23" name="Graphic 1">
              <a:extLst>
                <a:ext uri="{FF2B5EF4-FFF2-40B4-BE49-F238E27FC236}">
                  <a16:creationId xmlns:a16="http://schemas.microsoft.com/office/drawing/2014/main" id="{514CCCEC-F218-4058-C949-6E8FD8D7E677}"/>
                </a:ext>
              </a:extLst>
            </p:cNvPr>
            <p:cNvSpPr/>
            <p:nvPr/>
          </p:nvSpPr>
          <p:spPr>
            <a:xfrm>
              <a:off x="464265" y="2731224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4" name="Graphic 1">
              <a:extLst>
                <a:ext uri="{FF2B5EF4-FFF2-40B4-BE49-F238E27FC236}">
                  <a16:creationId xmlns:a16="http://schemas.microsoft.com/office/drawing/2014/main" id="{CD7D3F8A-0481-8F3C-E05A-BD707EE702F9}"/>
                </a:ext>
              </a:extLst>
            </p:cNvPr>
            <p:cNvSpPr/>
            <p:nvPr/>
          </p:nvSpPr>
          <p:spPr>
            <a:xfrm>
              <a:off x="949437" y="2731224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5" name="Graphic 1">
              <a:extLst>
                <a:ext uri="{FF2B5EF4-FFF2-40B4-BE49-F238E27FC236}">
                  <a16:creationId xmlns:a16="http://schemas.microsoft.com/office/drawing/2014/main" id="{3B5401D1-FA49-FC5D-57B7-C3A6A462E9B4}"/>
                </a:ext>
              </a:extLst>
            </p:cNvPr>
            <p:cNvSpPr/>
            <p:nvPr/>
          </p:nvSpPr>
          <p:spPr>
            <a:xfrm>
              <a:off x="464265" y="3189764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6" name="Graphic 1">
              <a:extLst>
                <a:ext uri="{FF2B5EF4-FFF2-40B4-BE49-F238E27FC236}">
                  <a16:creationId xmlns:a16="http://schemas.microsoft.com/office/drawing/2014/main" id="{2A2354AE-460E-8DA7-9713-09A22846C8C3}"/>
                </a:ext>
              </a:extLst>
            </p:cNvPr>
            <p:cNvSpPr/>
            <p:nvPr/>
          </p:nvSpPr>
          <p:spPr>
            <a:xfrm>
              <a:off x="949437" y="3189764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7" name="Graphic 1">
              <a:extLst>
                <a:ext uri="{FF2B5EF4-FFF2-40B4-BE49-F238E27FC236}">
                  <a16:creationId xmlns:a16="http://schemas.microsoft.com/office/drawing/2014/main" id="{A240A10A-25A9-38BD-3EC1-385CACA91CE0}"/>
                </a:ext>
              </a:extLst>
            </p:cNvPr>
            <p:cNvSpPr/>
            <p:nvPr/>
          </p:nvSpPr>
          <p:spPr>
            <a:xfrm>
              <a:off x="464265" y="3648306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8" name="Graphic 1">
              <a:extLst>
                <a:ext uri="{FF2B5EF4-FFF2-40B4-BE49-F238E27FC236}">
                  <a16:creationId xmlns:a16="http://schemas.microsoft.com/office/drawing/2014/main" id="{FA7A2989-B285-2875-48FA-42E2A6964055}"/>
                </a:ext>
              </a:extLst>
            </p:cNvPr>
            <p:cNvSpPr/>
            <p:nvPr/>
          </p:nvSpPr>
          <p:spPr>
            <a:xfrm>
              <a:off x="949437" y="3648306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9" name="Graphic 1">
              <a:extLst>
                <a:ext uri="{FF2B5EF4-FFF2-40B4-BE49-F238E27FC236}">
                  <a16:creationId xmlns:a16="http://schemas.microsoft.com/office/drawing/2014/main" id="{37B7A877-1649-59D1-8979-EFC1FD6BEC42}"/>
                </a:ext>
              </a:extLst>
            </p:cNvPr>
            <p:cNvSpPr/>
            <p:nvPr/>
          </p:nvSpPr>
          <p:spPr>
            <a:xfrm>
              <a:off x="464265" y="4106846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40" name="Graphic 1">
              <a:extLst>
                <a:ext uri="{FF2B5EF4-FFF2-40B4-BE49-F238E27FC236}">
                  <a16:creationId xmlns:a16="http://schemas.microsoft.com/office/drawing/2014/main" id="{C7F66B65-A713-B2D3-3503-C422CE87CE28}"/>
                </a:ext>
              </a:extLst>
            </p:cNvPr>
            <p:cNvSpPr/>
            <p:nvPr/>
          </p:nvSpPr>
          <p:spPr>
            <a:xfrm>
              <a:off x="949437" y="4106846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870302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ПМ_П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116" r="15116"/>
          <a:stretch>
            <a:fillRect/>
          </a:stretch>
        </p:blipFill>
        <p:spPr>
          <a:xfrm>
            <a:off x="3237485" y="1"/>
            <a:ext cx="6922517" cy="5367867"/>
          </a:xfrm>
          <a:custGeom>
            <a:avLst/>
            <a:gdLst>
              <a:gd name="connsiteX0" fmla="*/ 7286774 w 7286774"/>
              <a:gd name="connsiteY0" fmla="*/ 2450006 h 5649004"/>
              <a:gd name="connsiteX1" fmla="*/ 7286774 w 7286774"/>
              <a:gd name="connsiteY1" fmla="*/ 3892710 h 5649004"/>
              <a:gd name="connsiteX2" fmla="*/ 5530479 w 7286774"/>
              <a:gd name="connsiteY2" fmla="*/ 5649004 h 5649004"/>
              <a:gd name="connsiteX3" fmla="*/ 4809128 w 7286774"/>
              <a:gd name="connsiteY3" fmla="*/ 4927652 h 5649004"/>
              <a:gd name="connsiteX4" fmla="*/ 0 w 7286774"/>
              <a:gd name="connsiteY4" fmla="*/ 0 h 5649004"/>
              <a:gd name="connsiteX5" fmla="*/ 7286774 w 7286774"/>
              <a:gd name="connsiteY5" fmla="*/ 1 h 5649004"/>
              <a:gd name="connsiteX6" fmla="*/ 7286774 w 7286774"/>
              <a:gd name="connsiteY6" fmla="*/ 2055041 h 5649004"/>
              <a:gd name="connsiteX7" fmla="*/ 4670906 w 7286774"/>
              <a:gd name="connsiteY7" fmla="*/ 4670909 h 56490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286774" h="5649004">
                <a:moveTo>
                  <a:pt x="7286774" y="2450006"/>
                </a:moveTo>
                <a:lnTo>
                  <a:pt x="7286774" y="3892710"/>
                </a:lnTo>
                <a:lnTo>
                  <a:pt x="5530479" y="5649004"/>
                </a:lnTo>
                <a:lnTo>
                  <a:pt x="4809128" y="4927652"/>
                </a:lnTo>
                <a:close/>
                <a:moveTo>
                  <a:pt x="0" y="0"/>
                </a:moveTo>
                <a:lnTo>
                  <a:pt x="7286774" y="1"/>
                </a:lnTo>
                <a:lnTo>
                  <a:pt x="7286774" y="2055041"/>
                </a:lnTo>
                <a:lnTo>
                  <a:pt x="4670906" y="4670909"/>
                </a:lnTo>
                <a:close/>
              </a:path>
            </a:pathLst>
          </a:custGeom>
        </p:spPr>
      </p:pic>
      <p:sp>
        <p:nvSpPr>
          <p:cNvPr id="4" name="Параллелограмм 3"/>
          <p:cNvSpPr/>
          <p:nvPr userDrawn="1"/>
        </p:nvSpPr>
        <p:spPr>
          <a:xfrm flipH="1">
            <a:off x="2685474" y="0"/>
            <a:ext cx="6255328" cy="5715000"/>
          </a:xfrm>
          <a:prstGeom prst="parallelogram">
            <a:avLst>
              <a:gd name="adj" fmla="val 98650"/>
            </a:avLst>
          </a:prstGeom>
          <a:solidFill>
            <a:srgbClr val="0187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2072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cxnSp>
        <p:nvCxnSpPr>
          <p:cNvPr id="5" name="Прямая соединительная линия 4"/>
          <p:cNvCxnSpPr/>
          <p:nvPr userDrawn="1"/>
        </p:nvCxnSpPr>
        <p:spPr>
          <a:xfrm>
            <a:off x="110821" y="4522789"/>
            <a:ext cx="6713314" cy="32279"/>
          </a:xfrm>
          <a:prstGeom prst="line">
            <a:avLst/>
          </a:prstGeom>
          <a:ln w="38100">
            <a:solidFill>
              <a:srgbClr val="1A497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3"/>
          <p:cNvSpPr txBox="1">
            <a:spLocks noChangeArrowheads="1"/>
          </p:cNvSpPr>
          <p:nvPr userDrawn="1"/>
        </p:nvSpPr>
        <p:spPr bwMode="auto">
          <a:xfrm>
            <a:off x="134053" y="5367868"/>
            <a:ext cx="4550832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2072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400" b="1" i="0" u="none" strike="noStrike" kern="1200" cap="small" spc="10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+mn-ea"/>
                <a:cs typeface="Arial" panose="020B0604020202020204" pitchFamily="34" charset="0"/>
              </a:rPr>
              <a:t>г. Н</a:t>
            </a:r>
            <a:r>
              <a:rPr kumimoji="0" lang="kk-KZ" altLang="ru-RU" sz="1400" b="1" i="0" u="none" strike="noStrike" kern="1200" cap="small" spc="10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+mn-ea"/>
                <a:cs typeface="Arial" panose="020B0604020202020204" pitchFamily="34" charset="0"/>
              </a:rPr>
              <a:t>у</a:t>
            </a:r>
            <a:r>
              <a:rPr kumimoji="0" lang="ru-RU" altLang="ru-RU" sz="1400" b="1" i="0" u="none" strike="noStrike" kern="1200" cap="small" spc="10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+mn-ea"/>
                <a:cs typeface="Arial" panose="020B0604020202020204" pitchFamily="34" charset="0"/>
              </a:rPr>
              <a:t>р-Султан, июнь 2021 года</a:t>
            </a:r>
          </a:p>
        </p:txBody>
      </p:sp>
      <p:pic>
        <p:nvPicPr>
          <p:cNvPr id="6" name="Picture 744" descr="ÐÐ°ÑÑÐ¸Ð½ÐºÐ¸ Ð¿Ð¾ Ð·Ð°Ð¿ÑÐ¾ÑÑ Ð³ÐµÑÐ± ÐºÐ°Ð·Ð°ÑÑÑÐ°Ð½Ð° png"/>
          <p:cNvPicPr>
            <a:picLocks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36689" y="296475"/>
            <a:ext cx="1599259" cy="1601610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437944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B19B0651-EE4F-4900-A07F-96A6BFA9D0F0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71672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Без нумерации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469625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hape 20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21" name="Shape 21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22" name="Shape 22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31977165"/>
      </p:ext>
    </p:extLst>
  </p:cSld>
  <p:clrMapOvr>
    <a:masterClrMapping/>
  </p:clrMapOvr>
  <p:transition spd="med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5535085"/>
            <a:ext cx="10160000" cy="179917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 eaLnBrk="0" hangingPunct="0">
              <a:defRPr/>
            </a:pPr>
            <a:endParaRPr lang="ru-RU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3" name="Прямоугольник 2"/>
          <p:cNvSpPr/>
          <p:nvPr userDrawn="1"/>
        </p:nvSpPr>
        <p:spPr>
          <a:xfrm>
            <a:off x="9796641" y="5535085"/>
            <a:ext cx="363361" cy="17991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fld id="{2BD02EE5-D451-4137-BAEF-A3149E8D216F}" type="slidenum">
              <a:rPr lang="ru-RU" altLang="ru-RU" sz="800" b="1" smtClean="0">
                <a:solidFill>
                  <a:prstClr val="white"/>
                </a:solidFill>
                <a:latin typeface="Arial" panose="020B0604020202020204" pitchFamily="34" charset="0"/>
              </a:rPr>
              <a:pPr algn="ctr" eaLnBrk="1" hangingPunct="1">
                <a:defRPr/>
              </a:pPr>
              <a:t>‹#›</a:t>
            </a:fld>
            <a:endParaRPr lang="ru-RU" altLang="ru-RU" sz="800" b="1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0" y="620889"/>
            <a:ext cx="10160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815616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Н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10160000" cy="320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 eaLnBrk="0" hangingPunct="0">
              <a:defRPr/>
            </a:pPr>
            <a:endParaRPr lang="ru-RU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5408082"/>
            <a:ext cx="10160000" cy="320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 eaLnBrk="0" hangingPunct="0">
              <a:defRPr/>
            </a:pPr>
            <a:endParaRPr lang="ru-RU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6" name="TextBox 3"/>
          <p:cNvSpPr txBox="1">
            <a:spLocks noChangeArrowheads="1"/>
          </p:cNvSpPr>
          <p:nvPr userDrawn="1"/>
        </p:nvSpPr>
        <p:spPr bwMode="auto">
          <a:xfrm>
            <a:off x="2" y="5379998"/>
            <a:ext cx="10159999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>
              <a:defRPr/>
            </a:pPr>
            <a:r>
              <a:rPr lang="ru-RU" altLang="ru-RU" sz="1400" b="1" dirty="0">
                <a:solidFill>
                  <a:prstClr val="white"/>
                </a:solidFill>
                <a:latin typeface="Arial" panose="020B0604020202020204" pitchFamily="34" charset="0"/>
              </a:rPr>
              <a:t>г. </a:t>
            </a:r>
            <a:r>
              <a:rPr lang="ru-RU" altLang="ru-RU" sz="1400" b="1" cap="small" dirty="0">
                <a:solidFill>
                  <a:prstClr val="white"/>
                </a:solidFill>
                <a:latin typeface="Arial" panose="020B0604020202020204" pitchFamily="34" charset="0"/>
              </a:rPr>
              <a:t>Н</a:t>
            </a:r>
            <a:r>
              <a:rPr lang="kk-KZ" altLang="ru-RU" sz="1400" b="1" cap="small" dirty="0">
                <a:solidFill>
                  <a:prstClr val="white"/>
                </a:solidFill>
                <a:latin typeface="Arial" panose="020B0604020202020204" pitchFamily="34" charset="0"/>
              </a:rPr>
              <a:t>у</a:t>
            </a:r>
            <a:r>
              <a:rPr lang="ru-RU" altLang="ru-RU" sz="1400" b="1" cap="small" dirty="0">
                <a:solidFill>
                  <a:prstClr val="white"/>
                </a:solidFill>
                <a:latin typeface="Arial" panose="020B0604020202020204" pitchFamily="34" charset="0"/>
              </a:rPr>
              <a:t>р-Султан, июль 2020 года</a:t>
            </a:r>
          </a:p>
        </p:txBody>
      </p:sp>
      <p:sp>
        <p:nvSpPr>
          <p:cNvPr id="7" name="TextBox 3"/>
          <p:cNvSpPr txBox="1">
            <a:spLocks noChangeArrowheads="1"/>
          </p:cNvSpPr>
          <p:nvPr userDrawn="1"/>
        </p:nvSpPr>
        <p:spPr bwMode="auto">
          <a:xfrm>
            <a:off x="0" y="-10987"/>
            <a:ext cx="10160000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>
              <a:defRPr/>
            </a:pPr>
            <a:r>
              <a:rPr lang="ru-RU" altLang="ru-RU" sz="1400" b="1" dirty="0">
                <a:solidFill>
                  <a:prstClr val="white"/>
                </a:solidFill>
                <a:latin typeface="Arial" panose="020B0604020202020204" pitchFamily="34" charset="0"/>
              </a:rPr>
              <a:t>МИНИСТЕРСТВО НАЦИОНАЛЬНОЙ ЭКОНОМИКИ РЕСПУБЛИКИ КАЗАХСТАН</a:t>
            </a:r>
          </a:p>
        </p:txBody>
      </p:sp>
      <p:pic>
        <p:nvPicPr>
          <p:cNvPr id="8" name="Picture 744" descr="ÐÐ°ÑÑÐ¸Ð½ÐºÐ¸ Ð¿Ð¾ Ð·Ð°Ð¿ÑÐ¾ÑÑ Ð³ÐµÑÐ± ÐºÐ°Ð·Ð°ÑÑÑÐ°Ð½Ð° png"/>
          <p:cNvPicPr>
            <a:picLocks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480277" y="833615"/>
            <a:ext cx="1199444" cy="1201208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7432279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М_Г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10160000" cy="320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 eaLnBrk="0" hangingPunct="0">
              <a:defRPr/>
            </a:pPr>
            <a:endParaRPr lang="ru-RU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5408082"/>
            <a:ext cx="10160000" cy="320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 eaLnBrk="0" hangingPunct="0">
              <a:defRPr/>
            </a:pPr>
            <a:endParaRPr lang="ru-RU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grpSp>
        <p:nvGrpSpPr>
          <p:cNvPr id="7" name="Группа 21"/>
          <p:cNvGrpSpPr>
            <a:grpSpLocks/>
          </p:cNvGrpSpPr>
          <p:nvPr userDrawn="1"/>
        </p:nvGrpSpPr>
        <p:grpSpPr bwMode="auto">
          <a:xfrm>
            <a:off x="515056" y="3275543"/>
            <a:ext cx="1079500" cy="2056694"/>
            <a:chOff x="464265" y="2731224"/>
            <a:chExt cx="970344" cy="1850030"/>
          </a:xfrm>
        </p:grpSpPr>
        <p:sp>
          <p:nvSpPr>
            <p:cNvPr id="8" name="Graphic 1"/>
            <p:cNvSpPr/>
            <p:nvPr/>
          </p:nvSpPr>
          <p:spPr>
            <a:xfrm>
              <a:off x="464265" y="2731224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 eaLnBrk="0" hangingPunct="0">
                <a:defRPr/>
              </a:pPr>
              <a:endParaRPr lang="ru-RU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" name="Graphic 1"/>
            <p:cNvSpPr/>
            <p:nvPr/>
          </p:nvSpPr>
          <p:spPr>
            <a:xfrm>
              <a:off x="949437" y="2731224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 eaLnBrk="0" hangingPunct="0">
                <a:defRPr/>
              </a:pPr>
              <a:endParaRPr lang="ru-RU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" name="Graphic 1"/>
            <p:cNvSpPr/>
            <p:nvPr/>
          </p:nvSpPr>
          <p:spPr>
            <a:xfrm>
              <a:off x="464265" y="3189764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 eaLnBrk="0" hangingPunct="0">
                <a:defRPr/>
              </a:pPr>
              <a:endParaRPr lang="ru-RU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1" name="Graphic 1"/>
            <p:cNvSpPr/>
            <p:nvPr/>
          </p:nvSpPr>
          <p:spPr>
            <a:xfrm>
              <a:off x="949437" y="3189764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 eaLnBrk="0" hangingPunct="0">
                <a:defRPr/>
              </a:pPr>
              <a:endParaRPr lang="ru-RU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2" name="Graphic 1"/>
            <p:cNvSpPr/>
            <p:nvPr/>
          </p:nvSpPr>
          <p:spPr>
            <a:xfrm>
              <a:off x="464265" y="3648306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 eaLnBrk="0" hangingPunct="0">
                <a:defRPr/>
              </a:pPr>
              <a:endParaRPr lang="ru-RU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3" name="Graphic 1"/>
            <p:cNvSpPr/>
            <p:nvPr/>
          </p:nvSpPr>
          <p:spPr>
            <a:xfrm>
              <a:off x="949437" y="3648306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 eaLnBrk="0" hangingPunct="0">
                <a:defRPr/>
              </a:pPr>
              <a:endParaRPr lang="ru-RU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" name="Graphic 1"/>
            <p:cNvSpPr/>
            <p:nvPr/>
          </p:nvSpPr>
          <p:spPr>
            <a:xfrm>
              <a:off x="464265" y="4106846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 eaLnBrk="0" hangingPunct="0">
                <a:defRPr/>
              </a:pPr>
              <a:endParaRPr lang="ru-RU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" name="Graphic 1"/>
            <p:cNvSpPr/>
            <p:nvPr/>
          </p:nvSpPr>
          <p:spPr>
            <a:xfrm>
              <a:off x="949437" y="4106846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 eaLnBrk="0" hangingPunct="0">
                <a:defRPr/>
              </a:pPr>
              <a:endParaRPr lang="ru-RU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</p:grpSp>
      <p:pic>
        <p:nvPicPr>
          <p:cNvPr id="16" name="Picture 744" descr="ÐÐ°ÑÑÐ¸Ð½ÐºÐ¸ Ð¿Ð¾ Ð·Ð°Ð¿ÑÐ¾ÑÑ Ð³ÐµÑÐ± ÐºÐ°Ð·Ð°ÑÑÑÐ°Ð½Ð° png"/>
          <p:cNvPicPr>
            <a:picLocks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55084" y="2030237"/>
            <a:ext cx="1199444" cy="1201208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7" name="Группа 29"/>
          <p:cNvGrpSpPr>
            <a:grpSpLocks/>
          </p:cNvGrpSpPr>
          <p:nvPr userDrawn="1"/>
        </p:nvGrpSpPr>
        <p:grpSpPr bwMode="auto">
          <a:xfrm>
            <a:off x="515056" y="351015"/>
            <a:ext cx="1079500" cy="1546930"/>
            <a:chOff x="464265" y="499361"/>
            <a:chExt cx="970344" cy="1391523"/>
          </a:xfrm>
        </p:grpSpPr>
        <p:sp>
          <p:nvSpPr>
            <p:cNvPr id="18" name="Graphic 1"/>
            <p:cNvSpPr/>
            <p:nvPr/>
          </p:nvSpPr>
          <p:spPr>
            <a:xfrm>
              <a:off x="464265" y="499361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 eaLnBrk="0" hangingPunct="0">
                <a:defRPr/>
              </a:pPr>
              <a:endParaRPr lang="ru-RU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9" name="Graphic 1"/>
            <p:cNvSpPr/>
            <p:nvPr/>
          </p:nvSpPr>
          <p:spPr>
            <a:xfrm>
              <a:off x="949437" y="499361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 eaLnBrk="0" hangingPunct="0">
                <a:defRPr/>
              </a:pPr>
              <a:endParaRPr lang="ru-RU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0" name="Graphic 1"/>
            <p:cNvSpPr/>
            <p:nvPr/>
          </p:nvSpPr>
          <p:spPr>
            <a:xfrm>
              <a:off x="464265" y="957913"/>
              <a:ext cx="485172" cy="474420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 eaLnBrk="0" hangingPunct="0">
                <a:defRPr/>
              </a:pPr>
              <a:endParaRPr lang="ru-RU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1" name="Graphic 1"/>
            <p:cNvSpPr/>
            <p:nvPr/>
          </p:nvSpPr>
          <p:spPr>
            <a:xfrm>
              <a:off x="949437" y="957913"/>
              <a:ext cx="485172" cy="474420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 eaLnBrk="0" hangingPunct="0">
                <a:defRPr/>
              </a:pPr>
              <a:endParaRPr lang="ru-RU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2" name="Graphic 1"/>
            <p:cNvSpPr/>
            <p:nvPr/>
          </p:nvSpPr>
          <p:spPr>
            <a:xfrm>
              <a:off x="464265" y="1416465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 eaLnBrk="0" hangingPunct="0">
                <a:defRPr/>
              </a:pPr>
              <a:endParaRPr lang="ru-RU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3" name="Graphic 1"/>
            <p:cNvSpPr/>
            <p:nvPr/>
          </p:nvSpPr>
          <p:spPr>
            <a:xfrm>
              <a:off x="949437" y="1416465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 eaLnBrk="0" hangingPunct="0">
                <a:defRPr/>
              </a:pPr>
              <a:endParaRPr lang="ru-RU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3336594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vmlDrawing" Target="../drawings/vmlDrawing2.v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9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2.xml"/><Relationship Id="rId15" Type="http://schemas.openxmlformats.org/officeDocument/2006/relationships/oleObject" Target="../embeddings/oleObject2.bin"/><Relationship Id="rId10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Relationship Id="rId1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5DFA386-3A85-4A7C-8365-1AEE5BADB48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4275150733"/>
              </p:ext>
            </p:extLst>
          </p:nvPr>
        </p:nvGraphicFramePr>
        <p:xfrm>
          <a:off x="1765" y="1765"/>
          <a:ext cx="1764" cy="176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5DFA386-3A85-4A7C-8365-1AEE5BADB48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65" y="1765"/>
                        <a:ext cx="1764" cy="176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98342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16" r:id="rId1"/>
    <p:sldLayoutId id="2147485217" r:id="rId2"/>
    <p:sldLayoutId id="2147485218" r:id="rId3"/>
    <p:sldLayoutId id="2147485412" r:id="rId4"/>
    <p:sldLayoutId id="2147485413" r:id="rId5"/>
    <p:sldLayoutId id="2147485427" r:id="rId6"/>
    <p:sldLayoutId id="2147485428" r:id="rId7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5DFA386-3A85-4A7C-8365-1AEE5BADB48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</p:nvPr>
        </p:nvGraphicFramePr>
        <p:xfrm>
          <a:off x="1765" y="1765"/>
          <a:ext cx="1764" cy="176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8" name="think-cell Slide" r:id="rId15" imgW="360" imgH="360" progId="">
                  <p:embed/>
                </p:oleObj>
              </mc:Choice>
              <mc:Fallback>
                <p:oleObj name="think-cell Slide" r:id="rId15" imgW="360" imgH="360" progId="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5DFA386-3A85-4A7C-8365-1AEE5BADB48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65" y="1765"/>
                        <a:ext cx="1764" cy="176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3400726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15" r:id="rId1"/>
    <p:sldLayoutId id="2147485416" r:id="rId2"/>
    <p:sldLayoutId id="2147485417" r:id="rId3"/>
    <p:sldLayoutId id="2147485418" r:id="rId4"/>
    <p:sldLayoutId id="2147485419" r:id="rId5"/>
    <p:sldLayoutId id="2147485420" r:id="rId6"/>
    <p:sldLayoutId id="2147485423" r:id="rId7"/>
    <p:sldLayoutId id="2147485424" r:id="rId8"/>
    <p:sldLayoutId id="2147485425" r:id="rId9"/>
    <p:sldLayoutId id="2147485426" r:id="rId10"/>
    <p:sldLayoutId id="2147485429" r:id="rId1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1" name="AutoShape 249"/>
          <p:cNvCxnSpPr>
            <a:cxnSpLocks noChangeShapeType="1"/>
          </p:cNvCxnSpPr>
          <p:nvPr/>
        </p:nvCxnSpPr>
        <p:spPr bwMode="auto">
          <a:xfrm>
            <a:off x="952500" y="208557"/>
            <a:ext cx="8255000" cy="33528"/>
          </a:xfrm>
          <a:prstGeom prst="straightConnector1">
            <a:avLst/>
          </a:prstGeom>
          <a:ln>
            <a:solidFill>
              <a:srgbClr val="25C94C"/>
            </a:solidFill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3" name="Прямоугольник 22"/>
          <p:cNvSpPr/>
          <p:nvPr/>
        </p:nvSpPr>
        <p:spPr>
          <a:xfrm>
            <a:off x="489414" y="2583957"/>
            <a:ext cx="9181171" cy="13491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hangingPunct="1">
              <a:defRPr/>
            </a:pPr>
            <a:r>
              <a:rPr lang="ru-RU" sz="3333" b="1" dirty="0">
                <a:ln>
                  <a:solidFill>
                    <a:srgbClr val="00B050">
                      <a:alpha val="0"/>
                    </a:srgbClr>
                  </a:solidFill>
                </a:ln>
                <a:solidFill>
                  <a:srgbClr val="00B050"/>
                </a:solidFill>
                <a:latin typeface="Times New Roman" pitchFamily="18" charset="0"/>
              </a:rPr>
              <a:t> </a:t>
            </a:r>
            <a:r>
              <a:rPr lang="kk-KZ" altLang="ru-RU" sz="2417" b="1" dirty="0">
                <a:latin typeface="Cambria" pitchFamily="18" charset="0"/>
                <a:cs typeface="Microsoft Sans Serif" pitchFamily="34" charset="0"/>
              </a:rPr>
              <a:t>Исполнение бюджета </a:t>
            </a:r>
            <a:endParaRPr lang="kk-KZ" altLang="ru-RU" sz="2417" b="1" dirty="0" smtClean="0">
              <a:latin typeface="Cambria" pitchFamily="18" charset="0"/>
              <a:cs typeface="Microsoft Sans Serif" pitchFamily="34" charset="0"/>
            </a:endParaRPr>
          </a:p>
          <a:p>
            <a:pPr algn="ctr" hangingPunct="1">
              <a:defRPr/>
            </a:pPr>
            <a:r>
              <a:rPr lang="kk-KZ" altLang="ru-RU" sz="2417" b="1" dirty="0" smtClean="0">
                <a:latin typeface="Cambria" pitchFamily="18" charset="0"/>
                <a:cs typeface="Microsoft Sans Serif" pitchFamily="34" charset="0"/>
              </a:rPr>
              <a:t>Управления градостроительного контроля города </a:t>
            </a:r>
            <a:r>
              <a:rPr lang="kk-KZ" altLang="ru-RU" sz="2417" b="1" dirty="0">
                <a:latin typeface="Cambria" pitchFamily="18" charset="0"/>
                <a:cs typeface="Microsoft Sans Serif" pitchFamily="34" charset="0"/>
              </a:rPr>
              <a:t>Алматы</a:t>
            </a:r>
          </a:p>
          <a:p>
            <a:pPr algn="ctr" eaLnBrk="1" hangingPunct="1">
              <a:defRPr/>
            </a:pPr>
            <a:r>
              <a:rPr lang="kk-KZ" sz="2417" b="1" dirty="0">
                <a:latin typeface="Cambria" pitchFamily="18" charset="0"/>
                <a:cs typeface="Microsoft Sans Serif" pitchFamily="34" charset="0"/>
              </a:rPr>
              <a:t>за 2023 год</a:t>
            </a:r>
            <a:endParaRPr lang="ru-RU" sz="2417" b="1" dirty="0">
              <a:latin typeface="Cambria" pitchFamily="18" charset="0"/>
            </a:endParaRPr>
          </a:p>
        </p:txBody>
      </p:sp>
      <p:cxnSp>
        <p:nvCxnSpPr>
          <p:cNvPr id="5" name="AutoShape 249"/>
          <p:cNvCxnSpPr>
            <a:cxnSpLocks noChangeShapeType="1"/>
          </p:cNvCxnSpPr>
          <p:nvPr/>
        </p:nvCxnSpPr>
        <p:spPr bwMode="auto">
          <a:xfrm flipV="1">
            <a:off x="2668514" y="536457"/>
            <a:ext cx="5865583" cy="1497"/>
          </a:xfrm>
          <a:prstGeom prst="straightConnector1">
            <a:avLst/>
          </a:prstGeom>
          <a:ln>
            <a:solidFill>
              <a:srgbClr val="25C94C"/>
            </a:solidFill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6" name="AutoShape 249"/>
          <p:cNvCxnSpPr>
            <a:cxnSpLocks noChangeShapeType="1"/>
          </p:cNvCxnSpPr>
          <p:nvPr/>
        </p:nvCxnSpPr>
        <p:spPr bwMode="auto">
          <a:xfrm flipV="1">
            <a:off x="3130382" y="816617"/>
            <a:ext cx="4443003" cy="4382"/>
          </a:xfrm>
          <a:prstGeom prst="straightConnector1">
            <a:avLst/>
          </a:prstGeom>
          <a:ln>
            <a:solidFill>
              <a:srgbClr val="25C94C"/>
            </a:solidFill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7" name="AutoShape 249"/>
          <p:cNvCxnSpPr>
            <a:cxnSpLocks noChangeShapeType="1"/>
          </p:cNvCxnSpPr>
          <p:nvPr/>
        </p:nvCxnSpPr>
        <p:spPr bwMode="auto">
          <a:xfrm flipV="1">
            <a:off x="952500" y="5369442"/>
            <a:ext cx="8255000" cy="20944"/>
          </a:xfrm>
          <a:prstGeom prst="straightConnector1">
            <a:avLst/>
          </a:prstGeom>
          <a:ln>
            <a:solidFill>
              <a:srgbClr val="25C94C"/>
            </a:solidFill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8" name="AutoShape 249"/>
          <p:cNvCxnSpPr>
            <a:cxnSpLocks noChangeShapeType="1"/>
          </p:cNvCxnSpPr>
          <p:nvPr/>
        </p:nvCxnSpPr>
        <p:spPr bwMode="auto">
          <a:xfrm flipV="1">
            <a:off x="1684216" y="5103627"/>
            <a:ext cx="7180680" cy="12612"/>
          </a:xfrm>
          <a:prstGeom prst="straightConnector1">
            <a:avLst/>
          </a:prstGeom>
          <a:ln>
            <a:solidFill>
              <a:srgbClr val="25C94C"/>
            </a:solidFill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2" name="AutoShape 249"/>
          <p:cNvCxnSpPr>
            <a:cxnSpLocks noChangeShapeType="1"/>
          </p:cNvCxnSpPr>
          <p:nvPr/>
        </p:nvCxnSpPr>
        <p:spPr bwMode="auto">
          <a:xfrm flipV="1">
            <a:off x="2906798" y="4854520"/>
            <a:ext cx="4443003" cy="4382"/>
          </a:xfrm>
          <a:prstGeom prst="straightConnector1">
            <a:avLst/>
          </a:prstGeom>
          <a:ln>
            <a:solidFill>
              <a:srgbClr val="25C94C"/>
            </a:solidFill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pic>
        <p:nvPicPr>
          <p:cNvPr id="10" name="Picture 8">
            <a:extLst>
              <a:ext uri="{FF2B5EF4-FFF2-40B4-BE49-F238E27FC236}">
                <a16:creationId xmlns:a16="http://schemas.microsoft.com/office/drawing/2014/main" id="{5A5A1EE2-3924-4084-9300-E6DC0141A3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70016" y="1243608"/>
            <a:ext cx="1194744" cy="11733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912368828"/>
      </p:ext>
    </p:extLst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C378B37A-85AA-4609-A92C-72664F0C2130}"/>
              </a:ext>
            </a:extLst>
          </p:cNvPr>
          <p:cNvGrpSpPr/>
          <p:nvPr/>
        </p:nvGrpSpPr>
        <p:grpSpPr>
          <a:xfrm>
            <a:off x="9339942" y="0"/>
            <a:ext cx="616858" cy="587829"/>
            <a:chOff x="13566775" y="120650"/>
            <a:chExt cx="1065213" cy="1065213"/>
          </a:xfrm>
        </p:grpSpPr>
        <p:sp>
          <p:nvSpPr>
            <p:cNvPr id="3" name="Овал 2">
              <a:extLst>
                <a:ext uri="{FF2B5EF4-FFF2-40B4-BE49-F238E27FC236}">
                  <a16:creationId xmlns:a16="http://schemas.microsoft.com/office/drawing/2014/main" id="{19CDA98A-204B-4B6C-94A3-9D4661DCE40B}"/>
                </a:ext>
              </a:extLst>
            </p:cNvPr>
            <p:cNvSpPr/>
            <p:nvPr/>
          </p:nvSpPr>
          <p:spPr>
            <a:xfrm>
              <a:off x="13566775" y="120650"/>
              <a:ext cx="1065213" cy="106521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000">
                <a:latin typeface="Cambria" panose="02040503050406030204" pitchFamily="18" charset="0"/>
                <a:ea typeface="Cambria" panose="02040503050406030204" pitchFamily="18" charset="0"/>
                <a:cs typeface="Arial" panose="020B0604020202020204" pitchFamily="34" charset="0"/>
              </a:endParaRPr>
            </a:p>
          </p:txBody>
        </p:sp>
        <p:pic>
          <p:nvPicPr>
            <p:cNvPr id="4" name="Рисунок 20">
              <a:extLst>
                <a:ext uri="{FF2B5EF4-FFF2-40B4-BE49-F238E27FC236}">
                  <a16:creationId xmlns:a16="http://schemas.microsoft.com/office/drawing/2014/main" id="{67598681-15EA-44BD-B991-A36EDD1B8A5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582650" y="138113"/>
              <a:ext cx="1031875" cy="10302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89779C84-7650-426D-8937-E2DCBAB1F40F}"/>
              </a:ext>
            </a:extLst>
          </p:cNvPr>
          <p:cNvSpPr/>
          <p:nvPr/>
        </p:nvSpPr>
        <p:spPr>
          <a:xfrm>
            <a:off x="126850" y="74302"/>
            <a:ext cx="9320168" cy="4392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25000"/>
              </a:lnSpc>
            </a:pPr>
            <a:r>
              <a:rPr lang="kk-KZ" sz="2000" b="1" dirty="0">
                <a:solidFill>
                  <a:srgbClr val="191919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УПРАВЛЕНИЕ ГРАДОСТРОИТЕЛЬНОГО КОНТРОЛЯ</a:t>
            </a:r>
            <a:endParaRPr lang="ru-RU" sz="2000" b="1" dirty="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cxnSp>
        <p:nvCxnSpPr>
          <p:cNvPr id="59" name="Прямая соединительная линия 58">
            <a:extLst>
              <a:ext uri="{FF2B5EF4-FFF2-40B4-BE49-F238E27FC236}">
                <a16:creationId xmlns:a16="http://schemas.microsoft.com/office/drawing/2014/main" id="{0D8F8332-DA59-43E9-8784-9693043399AC}"/>
              </a:ext>
            </a:extLst>
          </p:cNvPr>
          <p:cNvCxnSpPr>
            <a:cxnSpLocks/>
          </p:cNvCxnSpPr>
          <p:nvPr/>
        </p:nvCxnSpPr>
        <p:spPr>
          <a:xfrm>
            <a:off x="0" y="635753"/>
            <a:ext cx="10160000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Прямоугольник 60">
            <a:extLst>
              <a:ext uri="{FF2B5EF4-FFF2-40B4-BE49-F238E27FC236}">
                <a16:creationId xmlns:a16="http://schemas.microsoft.com/office/drawing/2014/main" id="{A64104DE-B561-4486-B5F3-6569DAF427B4}"/>
              </a:ext>
            </a:extLst>
          </p:cNvPr>
          <p:cNvSpPr/>
          <p:nvPr/>
        </p:nvSpPr>
        <p:spPr>
          <a:xfrm>
            <a:off x="99256" y="670281"/>
            <a:ext cx="1006074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latin typeface="Cambria" panose="02040503050406030204" pitchFamily="18" charset="0"/>
                <a:ea typeface="Cambria" panose="02040503050406030204" pitchFamily="18" charset="0"/>
              </a:rPr>
              <a:t>План – </a:t>
            </a:r>
            <a:r>
              <a:rPr lang="ru-RU" b="1" dirty="0">
                <a:solidFill>
                  <a:srgbClr val="00B05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403,15 </a:t>
            </a:r>
            <a:r>
              <a:rPr lang="ru-RU" b="1" dirty="0" smtClean="0">
                <a:solidFill>
                  <a:srgbClr val="00B05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млн. </a:t>
            </a:r>
            <a:r>
              <a:rPr lang="ru-RU" b="1" dirty="0">
                <a:solidFill>
                  <a:srgbClr val="00B05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тенге          </a:t>
            </a:r>
            <a:r>
              <a:rPr lang="ru-RU" b="1" dirty="0">
                <a:latin typeface="Cambria" panose="02040503050406030204" pitchFamily="18" charset="0"/>
                <a:ea typeface="Cambria" panose="02040503050406030204" pitchFamily="18" charset="0"/>
              </a:rPr>
              <a:t>Факт – </a:t>
            </a:r>
            <a:r>
              <a:rPr lang="ru-RU" b="1" dirty="0">
                <a:solidFill>
                  <a:srgbClr val="00B05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403,14 </a:t>
            </a:r>
            <a:r>
              <a:rPr lang="ru-RU" b="1" dirty="0" smtClean="0">
                <a:solidFill>
                  <a:srgbClr val="00B05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млн. </a:t>
            </a:r>
            <a:r>
              <a:rPr lang="ru-RU" b="1" dirty="0">
                <a:solidFill>
                  <a:srgbClr val="00B05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тенге </a:t>
            </a:r>
            <a:r>
              <a:rPr lang="ru-RU" sz="1600" dirty="0">
                <a:latin typeface="Cambria" panose="02040503050406030204" pitchFamily="18" charset="0"/>
                <a:ea typeface="Cambria" panose="02040503050406030204" pitchFamily="18" charset="0"/>
              </a:rPr>
              <a:t>или</a:t>
            </a:r>
            <a:r>
              <a:rPr lang="ru-RU" b="1" dirty="0">
                <a:solidFill>
                  <a:srgbClr val="00B05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100%          </a:t>
            </a:r>
            <a:endParaRPr lang="ru-KZ" dirty="0">
              <a:solidFill>
                <a:srgbClr val="FF0000"/>
              </a:solidFill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A2D66672-0E0A-4E53-86CC-A254DFE0054F}"/>
              </a:ext>
            </a:extLst>
          </p:cNvPr>
          <p:cNvSpPr/>
          <p:nvPr/>
        </p:nvSpPr>
        <p:spPr>
          <a:xfrm>
            <a:off x="2172948" y="1303049"/>
            <a:ext cx="5530645" cy="502920"/>
          </a:xfrm>
          <a:prstGeom prst="rect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chemeClr val="tx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Достижение показателей по итогам 2023 года</a:t>
            </a:r>
          </a:p>
        </p:txBody>
      </p:sp>
      <p:cxnSp>
        <p:nvCxnSpPr>
          <p:cNvPr id="10" name="Прямая соединительная линия 9">
            <a:extLst>
              <a:ext uri="{FF2B5EF4-FFF2-40B4-BE49-F238E27FC236}">
                <a16:creationId xmlns:a16="http://schemas.microsoft.com/office/drawing/2014/main" id="{E527A9C0-0773-43AD-8D11-D7C7FB7965AD}"/>
              </a:ext>
            </a:extLst>
          </p:cNvPr>
          <p:cNvCxnSpPr>
            <a:cxnSpLocks/>
          </p:cNvCxnSpPr>
          <p:nvPr/>
        </p:nvCxnSpPr>
        <p:spPr>
          <a:xfrm>
            <a:off x="251460" y="1085333"/>
            <a:ext cx="956564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6414595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0ABD3C79-DE01-495B-874E-DD17E37CB119}"/>
              </a:ext>
            </a:extLst>
          </p:cNvPr>
          <p:cNvSpPr txBox="1"/>
          <p:nvPr/>
        </p:nvSpPr>
        <p:spPr>
          <a:xfrm>
            <a:off x="8021" y="47520"/>
            <a:ext cx="10151979" cy="40011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2000" b="1" kern="0" dirty="0">
                <a:solidFill>
                  <a:srgbClr val="002060"/>
                </a:solidFill>
                <a:latin typeface="Arial" panose="020B0604020202020204" pitchFamily="34" charset="0"/>
              </a:rPr>
              <a:t>ИНФОРМАЦИЯ ПО ОСВОЕНИЮ БЮДЖЕТА за 2023 года</a:t>
            </a:r>
            <a:endParaRPr lang="aa-ET" sz="2000" b="1" kern="0" dirty="0">
              <a:solidFill>
                <a:srgbClr val="002060"/>
              </a:solidFill>
              <a:latin typeface="Arial" panose="020B0604020202020204" pitchFamily="34" charset="0"/>
            </a:endParaRP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6E0504F2-1E9B-4BA7-848E-C3E9EFC8A78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593" y="8345"/>
            <a:ext cx="589095" cy="514368"/>
          </a:xfrm>
          <a:prstGeom prst="rect">
            <a:avLst/>
          </a:prstGeom>
        </p:spPr>
      </p:pic>
      <p:sp>
        <p:nvSpPr>
          <p:cNvPr id="19" name="Скругленный прямоугольник 18"/>
          <p:cNvSpPr/>
          <p:nvPr/>
        </p:nvSpPr>
        <p:spPr>
          <a:xfrm>
            <a:off x="3614257" y="627178"/>
            <a:ext cx="6411688" cy="2232070"/>
          </a:xfrm>
          <a:prstGeom prst="roundRect">
            <a:avLst>
              <a:gd name="adj" fmla="val 6227"/>
            </a:avLst>
          </a:prstGeom>
          <a:gradFill flip="none" rotWithShape="1">
            <a:gsLst>
              <a:gs pos="0">
                <a:schemeClr val="accent1">
                  <a:lumMod val="60000"/>
                  <a:lumOff val="40000"/>
                  <a:tint val="66000"/>
                  <a:satMod val="160000"/>
                </a:schemeClr>
              </a:gs>
              <a:gs pos="50000">
                <a:schemeClr val="accent1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1">
                  <a:lumMod val="60000"/>
                  <a:lumOff val="40000"/>
                  <a:tint val="23500"/>
                  <a:satMod val="160000"/>
                </a:schemeClr>
              </a:gs>
            </a:gsLst>
            <a:lin ang="2700000" scaled="1"/>
            <a:tileRect/>
          </a:gra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42869" indent="-142869" algn="just">
              <a:buFont typeface="Wingdings" panose="05000000000000000000" pitchFamily="2" charset="2"/>
              <a:buChar char="Ø"/>
            </a:pPr>
            <a:r>
              <a:rPr lang="ru-RU" sz="1167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05,73 </a:t>
            </a:r>
            <a:r>
              <a:rPr lang="ru-RU" sz="1167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н.тенге</a:t>
            </a:r>
            <a:r>
              <a:rPr lang="ru-RU" sz="1167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67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фонд оплаты труда сотрудников управления со всеми перечислениями налогов, взносов и отчислений в бюджет</a:t>
            </a:r>
            <a:br>
              <a:rPr lang="ru-RU" sz="1167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0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40 гос. служащих, 18 гражданских служащих);</a:t>
            </a:r>
          </a:p>
          <a:p>
            <a:pPr marL="142869" indent="-142869" algn="just">
              <a:buFont typeface="Wingdings" panose="05000000000000000000" pitchFamily="2" charset="2"/>
              <a:buChar char="Ø"/>
            </a:pPr>
            <a:r>
              <a:rPr lang="ru-RU" sz="1167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9,43 </a:t>
            </a:r>
            <a:r>
              <a:rPr lang="ru-RU" sz="1167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н.тенге</a:t>
            </a:r>
            <a:r>
              <a:rPr lang="ru-RU" sz="1167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67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приобретение запасов, работ и услуг</a:t>
            </a:r>
            <a:br>
              <a:rPr lang="ru-RU" sz="1167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0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закуп канцелярских товаров, повышение квалификации, изготовление бланков для документооборота, коммунальные услуги, услуги связи и интернета, аренда служебных автомобилей, содержание здания, обслуживание компьютерной техники, а также программных обеспечений и т.д.);</a:t>
            </a:r>
          </a:p>
          <a:p>
            <a:pPr marL="142869" indent="-142869" algn="just">
              <a:buFont typeface="Wingdings" panose="05000000000000000000" pitchFamily="2" charset="2"/>
              <a:buChar char="Ø"/>
            </a:pPr>
            <a:r>
              <a:rPr lang="ru-RU" sz="1167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,58 </a:t>
            </a:r>
            <a:r>
              <a:rPr lang="ru-RU" sz="1167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н.тенге</a:t>
            </a:r>
            <a:r>
              <a:rPr lang="ru-RU" sz="1167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67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закуп </a:t>
            </a:r>
            <a:r>
              <a:rPr lang="ru-RU" sz="1167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вадрокоптеров</a:t>
            </a:r>
            <a:r>
              <a:rPr lang="ru-RU" sz="1167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 ед. и измерительных дальномеров 20 ед.</a:t>
            </a:r>
            <a:r>
              <a:rPr lang="ru-RU" sz="1167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142869" indent="-142869" algn="just">
              <a:buFont typeface="Wingdings" panose="05000000000000000000" pitchFamily="2" charset="2"/>
              <a:buChar char="Ø"/>
            </a:pPr>
            <a:r>
              <a:rPr lang="en-US" sz="1167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,</a:t>
            </a:r>
            <a:r>
              <a:rPr lang="ru-RU" sz="1167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1 </a:t>
            </a:r>
            <a:r>
              <a:rPr lang="ru-RU" sz="1167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н.тенге</a:t>
            </a:r>
            <a:r>
              <a:rPr lang="ru-RU" sz="1167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67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прочие текущие затраты, включающие командировочные расходы и исполнение судебных листов.</a:t>
            </a:r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3614257" y="3054184"/>
            <a:ext cx="6411688" cy="2133008"/>
          </a:xfrm>
          <a:prstGeom prst="roundRect">
            <a:avLst>
              <a:gd name="adj" fmla="val 6477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42869" indent="-142869" algn="just">
              <a:buFont typeface="Wingdings" panose="05000000000000000000" pitchFamily="2" charset="2"/>
              <a:buChar char="Ø"/>
            </a:pPr>
            <a:r>
              <a:rPr lang="ru-RU" sz="1167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05,73 </a:t>
            </a:r>
            <a:r>
              <a:rPr lang="ru-RU" sz="1167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н.тенге</a:t>
            </a:r>
            <a:r>
              <a:rPr lang="ru-RU" sz="1167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67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онд оплаты труда сотрудников управления со всеми перечислениями налогов, взносов и отчислений в бюджет </a:t>
            </a:r>
            <a:r>
              <a:rPr lang="ru-RU" sz="10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40 гос. служащих, 18 гражданских служащих);</a:t>
            </a:r>
          </a:p>
          <a:p>
            <a:pPr marL="142869" indent="-142869" algn="just">
              <a:buFont typeface="Wingdings" panose="05000000000000000000" pitchFamily="2" charset="2"/>
              <a:buChar char="Ø"/>
            </a:pPr>
            <a:r>
              <a:rPr lang="ru-RU" sz="1167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9,42 </a:t>
            </a:r>
            <a:r>
              <a:rPr lang="ru-RU" sz="1167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н.тенге</a:t>
            </a:r>
            <a:r>
              <a:rPr lang="ru-RU" sz="1167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67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обретение запасов, работ и услуг </a:t>
            </a:r>
            <a:r>
              <a:rPr lang="ru-RU" sz="10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закуп канцелярских товаров, повышение квалификации, изготовление бланков для документооборота, коммунальные услуги, услуги связи и интернета, аренда служебных автомобилей, содержание здания, обслуживание компьютерной техники, а также программных обеспечений и т.д.);</a:t>
            </a:r>
          </a:p>
          <a:p>
            <a:pPr marL="142869" indent="-142869" algn="just">
              <a:buFont typeface="Wingdings" panose="05000000000000000000" pitchFamily="2" charset="2"/>
              <a:buChar char="Ø"/>
            </a:pPr>
            <a:r>
              <a:rPr lang="ru-RU" sz="1167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,58 </a:t>
            </a:r>
            <a:r>
              <a:rPr lang="ru-RU" sz="1167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н.тенге</a:t>
            </a:r>
            <a:r>
              <a:rPr lang="ru-RU" sz="1167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67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куп </a:t>
            </a:r>
            <a:r>
              <a:rPr lang="ru-RU" sz="1167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вадрокоптеров</a:t>
            </a:r>
            <a:r>
              <a:rPr lang="en-US" sz="1167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</a:t>
            </a:r>
            <a:r>
              <a:rPr lang="ru-RU" sz="1167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ед. и измерительных дальномеров 20 ед.</a:t>
            </a:r>
            <a:endParaRPr lang="ru-RU" sz="1167" i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42869" indent="-142869" algn="just">
              <a:buFont typeface="Wingdings" panose="05000000000000000000" pitchFamily="2" charset="2"/>
              <a:buChar char="Ø"/>
            </a:pPr>
            <a:r>
              <a:rPr lang="en-US" sz="1167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,</a:t>
            </a:r>
            <a:r>
              <a:rPr lang="ru-RU" sz="1167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1</a:t>
            </a:r>
            <a:r>
              <a:rPr lang="en-US" sz="1167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67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н.тенге</a:t>
            </a:r>
            <a:r>
              <a:rPr lang="ru-RU" sz="1167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67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чие текущие затраты, включающие командировочные расходы и исполнение судебных листов.</a:t>
            </a:r>
          </a:p>
        </p:txBody>
      </p:sp>
      <p:graphicFrame>
        <p:nvGraphicFramePr>
          <p:cNvPr id="8" name="Диаграмма 7"/>
          <p:cNvGraphicFramePr/>
          <p:nvPr>
            <p:extLst/>
          </p:nvPr>
        </p:nvGraphicFramePr>
        <p:xfrm>
          <a:off x="234541" y="894826"/>
          <a:ext cx="3174231" cy="39568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2186601" y="1169495"/>
            <a:ext cx="1324914" cy="2974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333" b="1" dirty="0" smtClean="0">
                <a:latin typeface="Arial" panose="020B0604020202020204" pitchFamily="34" charset="0"/>
              </a:rPr>
              <a:t>403,14 </a:t>
            </a:r>
            <a:r>
              <a:rPr lang="ru-RU" sz="1333" b="1" dirty="0" err="1">
                <a:latin typeface="Arial" panose="020B0604020202020204" pitchFamily="34" charset="0"/>
              </a:rPr>
              <a:t>млн.тг</a:t>
            </a:r>
            <a:r>
              <a:rPr lang="ru-RU" sz="1333" b="1" dirty="0">
                <a:latin typeface="Arial" panose="020B0604020202020204" pitchFamily="34" charset="0"/>
              </a:rPr>
              <a:t>.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39148" y="1160894"/>
            <a:ext cx="1279873" cy="2846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50" b="1" dirty="0" smtClean="0">
                <a:latin typeface="Arial" panose="020B0604020202020204" pitchFamily="34" charset="0"/>
              </a:rPr>
              <a:t>403,15 </a:t>
            </a:r>
            <a:r>
              <a:rPr lang="ru-RU" sz="1250" b="1" dirty="0" err="1">
                <a:latin typeface="Arial" panose="020B0604020202020204" pitchFamily="34" charset="0"/>
              </a:rPr>
              <a:t>млн.тг</a:t>
            </a:r>
            <a:r>
              <a:rPr lang="ru-RU" sz="1250" b="1" dirty="0">
                <a:latin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1424301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capUTVQFyESy2vCPZubg"/>
</p:tagLst>
</file>

<file path=ppt/theme/theme1.xml><?xml version="1.0" encoding="utf-8"?>
<a:theme xmlns:a="http://schemas.openxmlformats.org/drawingml/2006/main" name="ТИТУЛЫ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ТИТУЛЫ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59634</TotalTime>
  <Words>259</Words>
  <Application>Microsoft Office PowerPoint</Application>
  <PresentationFormat>Произвольный</PresentationFormat>
  <Paragraphs>18</Paragraphs>
  <Slides>3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9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</vt:i4>
      </vt:variant>
    </vt:vector>
  </HeadingPairs>
  <TitlesOfParts>
    <vt:vector size="15" baseType="lpstr">
      <vt:lpstr>Arial</vt:lpstr>
      <vt:lpstr>Calibri</vt:lpstr>
      <vt:lpstr>Calibri Light</vt:lpstr>
      <vt:lpstr>Cambria</vt:lpstr>
      <vt:lpstr>Microsoft Sans Serif</vt:lpstr>
      <vt:lpstr>Segoe UI Black</vt:lpstr>
      <vt:lpstr>Segoe UI Light</vt:lpstr>
      <vt:lpstr>Times New Roman</vt:lpstr>
      <vt:lpstr>Wingdings</vt:lpstr>
      <vt:lpstr>ТИТУЛЫ</vt:lpstr>
      <vt:lpstr>1_ТИТУЛЫ</vt:lpstr>
      <vt:lpstr>think-cell Slide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Дастан Умирбаев</dc:creator>
  <cp:lastModifiedBy>User</cp:lastModifiedBy>
  <cp:revision>11433</cp:revision>
  <cp:lastPrinted>2024-06-05T03:51:25Z</cp:lastPrinted>
  <dcterms:created xsi:type="dcterms:W3CDTF">2017-09-18T08:04:07Z</dcterms:created>
  <dcterms:modified xsi:type="dcterms:W3CDTF">2024-06-10T08:40:56Z</dcterms:modified>
</cp:coreProperties>
</file>